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6" r:id="rId4"/>
  </p:sldMasterIdLst>
  <p:notesMasterIdLst>
    <p:notesMasterId r:id="rId6"/>
  </p:notesMasterIdLst>
  <p:sldIdLst>
    <p:sldId id="2147483634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Slides" id="{CA6C5564-70FE-4F06-A1D4-26344BC20223}">
          <p14:sldIdLst>
            <p14:sldId id="2147483634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D20E775B-B30C-2397-2CC0-1091A8A4692D}" name="Blake Norton (SYNAXIS CORPORATION)" initials="BN" userId="S::v-blnort@microsoft.com::c7b2b92d-57f0-4b9f-a279-7f61fcd2e32f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3BB"/>
    <a:srgbClr val="FFFFFF"/>
    <a:srgbClr val="DDEEF8"/>
    <a:srgbClr val="B63EC5"/>
    <a:srgbClr val="0078D4"/>
    <a:srgbClr val="B1B3B3"/>
    <a:srgbClr val="49C5B1"/>
    <a:srgbClr val="F5EBE9"/>
    <a:srgbClr val="593794"/>
    <a:srgbClr val="E4DF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69" autoAdjust="0"/>
    <p:restoredTop sz="94660"/>
  </p:normalViewPr>
  <p:slideViewPr>
    <p:cSldViewPr snapToGrid="0">
      <p:cViewPr varScale="1">
        <p:scale>
          <a:sx n="82" d="100"/>
          <a:sy n="82" d="100"/>
        </p:scale>
        <p:origin x="552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8/10/relationships/authors" Target="authors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7ABE1F-CA5A-2B44-8AB1-8023C3D7A890}" type="datetimeFigureOut">
              <a:rPr lang="en-US" smtClean="0"/>
              <a:t>2/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57A88C-D68B-7E43-B6BD-8EAA306090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804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A10CE-D95A-A45B-FEB6-04DE6442D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0F6381-4A67-674B-4FAF-8E6A55B417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317B4E-4F61-03DC-CBF7-2189E80316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523A3F-F15E-0B8F-8117-5926265D75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7A88C-D68B-7E43-B6BD-8EAA306090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3984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m365copilot.com/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m365copilot.com/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m365copilot.com/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quare photo 2">
    <p:bg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spiral&#10;&#10;Description automatically generated">
            <a:extLst>
              <a:ext uri="{FF2B5EF4-FFF2-40B4-BE49-F238E27FC236}">
                <a16:creationId xmlns:a16="http://schemas.microsoft.com/office/drawing/2014/main" id="{361D5F98-BDD8-425B-488B-22D9DCB803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8D8C93-A68F-427F-AC31-AE3104AD119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17984"/>
            <a:ext cx="7758903" cy="615553"/>
          </a:xfrm>
        </p:spPr>
        <p:txBody>
          <a:bodyPr wrap="square" anchor="b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7752752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4D1E6E7-6980-34C8-5B50-9BC3D2B8E2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783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sky with white clouds&#10;&#10;AI-generated content may be incorrect.">
            <a:extLst>
              <a:ext uri="{FF2B5EF4-FFF2-40B4-BE49-F238E27FC236}">
                <a16:creationId xmlns:a16="http://schemas.microsoft.com/office/drawing/2014/main" id="{D06997A8-9B2A-B93C-F597-79B38162AF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7784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C58B1CC-7E89-FC8B-DE61-81B2927808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rgbClr val="FFF8F3">
                <a:tint val="45000"/>
                <a:satMod val="400000"/>
              </a:srgbClr>
            </a:duotone>
          </a:blip>
          <a:srcRect t="7440" b="52893"/>
          <a:stretch/>
        </p:blipFill>
        <p:spPr>
          <a:xfrm>
            <a:off x="0" y="0"/>
            <a:ext cx="12191999" cy="6857999"/>
          </a:xfrm>
          <a:prstGeom prst="round2SameRect">
            <a:avLst>
              <a:gd name="adj1" fmla="val 0"/>
              <a:gd name="adj2" fmla="val 0"/>
            </a:avLst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66177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6527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curved object">
            <a:extLst>
              <a:ext uri="{FF2B5EF4-FFF2-40B4-BE49-F238E27FC236}">
                <a16:creationId xmlns:a16="http://schemas.microsoft.com/office/drawing/2014/main" id="{65978E02-7B42-4283-0732-A5ECD04C20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D9B2C81-3582-FD54-9197-2A2E6EA52FF9}"/>
              </a:ext>
            </a:extLst>
          </p:cNvPr>
          <p:cNvSpPr/>
          <p:nvPr userDrawn="1"/>
        </p:nvSpPr>
        <p:spPr bwMode="auto">
          <a:xfrm>
            <a:off x="0" y="0"/>
            <a:ext cx="8586216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6365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07777"/>
          </a:xfrm>
        </p:spPr>
        <p:txBody>
          <a:bodyPr tIns="0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52226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cenario six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96B9EA-FBFB-4858-13AE-0D3B6A1BFE98}"/>
              </a:ext>
            </a:extLst>
          </p:cNvPr>
          <p:cNvSpPr>
            <a:spLocks/>
          </p:cNvSpPr>
          <p:nvPr userDrawn="1"/>
        </p:nvSpPr>
        <p:spPr bwMode="auto">
          <a:xfrm>
            <a:off x="2179638" y="304726"/>
            <a:ext cx="4582191" cy="526298"/>
          </a:xfrm>
          <a:prstGeom prst="roundRect">
            <a:avLst/>
          </a:prstGeom>
          <a:solidFill>
            <a:srgbClr val="DDEEF8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54000" algn="ctr" rotWithShape="0">
              <a:schemeClr val="bg1">
                <a:lumMod val="75000"/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148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0B21A-B692-149F-D60C-5E53B60E00B6}"/>
              </a:ext>
            </a:extLst>
          </p:cNvPr>
          <p:cNvSpPr txBox="1">
            <a:spLocks/>
          </p:cNvSpPr>
          <p:nvPr userDrawn="1"/>
        </p:nvSpPr>
        <p:spPr>
          <a:xfrm>
            <a:off x="0" y="304726"/>
            <a:ext cx="2431247" cy="526298"/>
          </a:xfrm>
          <a:custGeom>
            <a:avLst/>
            <a:gdLst>
              <a:gd name="connsiteX0" fmla="*/ 1993 w 2431247"/>
              <a:gd name="connsiteY0" fmla="*/ 0 h 526298"/>
              <a:gd name="connsiteX1" fmla="*/ 2338766 w 2431247"/>
              <a:gd name="connsiteY1" fmla="*/ 0 h 526298"/>
              <a:gd name="connsiteX2" fmla="*/ 2431247 w 2431247"/>
              <a:gd name="connsiteY2" fmla="*/ 92481 h 526298"/>
              <a:gd name="connsiteX3" fmla="*/ 2431247 w 2431247"/>
              <a:gd name="connsiteY3" fmla="*/ 433817 h 526298"/>
              <a:gd name="connsiteX4" fmla="*/ 2338766 w 2431247"/>
              <a:gd name="connsiteY4" fmla="*/ 526298 h 526298"/>
              <a:gd name="connsiteX5" fmla="*/ 1993 w 2431247"/>
              <a:gd name="connsiteY5" fmla="*/ 526298 h 526298"/>
              <a:gd name="connsiteX6" fmla="*/ 0 w 2431247"/>
              <a:gd name="connsiteY6" fmla="*/ 525896 h 526298"/>
              <a:gd name="connsiteX7" fmla="*/ 0 w 2431247"/>
              <a:gd name="connsiteY7" fmla="*/ 402 h 526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1247" h="526298">
                <a:moveTo>
                  <a:pt x="1993" y="0"/>
                </a:moveTo>
                <a:lnTo>
                  <a:pt x="2338766" y="0"/>
                </a:lnTo>
                <a:cubicBezTo>
                  <a:pt x="2389842" y="0"/>
                  <a:pt x="2431247" y="41405"/>
                  <a:pt x="2431247" y="92481"/>
                </a:cubicBezTo>
                <a:lnTo>
                  <a:pt x="2431247" y="433817"/>
                </a:lnTo>
                <a:cubicBezTo>
                  <a:pt x="2431247" y="484893"/>
                  <a:pt x="2389842" y="526298"/>
                  <a:pt x="2338766" y="526298"/>
                </a:cubicBezTo>
                <a:lnTo>
                  <a:pt x="1993" y="526298"/>
                </a:lnTo>
                <a:lnTo>
                  <a:pt x="0" y="525896"/>
                </a:lnTo>
                <a:lnTo>
                  <a:pt x="0" y="402"/>
                </a:lnTo>
                <a:close/>
              </a:path>
            </a:pathLst>
          </a:cu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/>
        </p:spPr>
        <p:txBody>
          <a:bodyPr vert="horz" wrap="square" lIns="310896" tIns="0" rIns="0" bIns="0" rtlCol="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200" b="1" i="0" kern="1200" spc="0" baseline="0">
                <a:solidFill>
                  <a:srgbClr val="FFFFFF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37" name="Step 5 Top">
            <a:extLst>
              <a:ext uri="{FF2B5EF4-FFF2-40B4-BE49-F238E27FC236}">
                <a16:creationId xmlns:a16="http://schemas.microsoft.com/office/drawing/2014/main" id="{6A995B05-0623-381A-BC20-075E020B55F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1388" y="1026303"/>
            <a:ext cx="2431246" cy="1131079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kumimoji="0" lang="en-US" sz="1050" b="0" i="0" u="none" strike="noStrike" kern="1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82157D41-F80D-AE68-F668-478CD741D47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04796" y="413987"/>
            <a:ext cx="2057403" cy="307777"/>
          </a:xfrm>
        </p:spPr>
        <p:txBody>
          <a:bodyPr anchor="ctr"/>
          <a:lstStyle>
            <a:lvl1pPr marL="0" indent="0"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5" name="Scenario Level">
            <a:extLst>
              <a:ext uri="{FF2B5EF4-FFF2-40B4-BE49-F238E27FC236}">
                <a16:creationId xmlns:a16="http://schemas.microsoft.com/office/drawing/2014/main" id="{1BB75DAB-4D8A-2933-BB52-0C94AA4816E3}"/>
              </a:ext>
            </a:extLst>
          </p:cNvPr>
          <p:cNvSpPr txBox="1"/>
          <p:nvPr userDrawn="1"/>
        </p:nvSpPr>
        <p:spPr>
          <a:xfrm>
            <a:off x="10895070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Scenario level:</a:t>
            </a:r>
          </a:p>
        </p:txBody>
      </p:sp>
      <p:sp>
        <p:nvSpPr>
          <p:cNvPr id="5" name="Level">
            <a:extLst>
              <a:ext uri="{FF2B5EF4-FFF2-40B4-BE49-F238E27FC236}">
                <a16:creationId xmlns:a16="http://schemas.microsoft.com/office/drawing/2014/main" id="{D78A2D53-01ED-9D74-9712-451C6F32148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430351" y="521099"/>
            <a:ext cx="1456966" cy="175614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0" i="0" spc="0" baseline="0">
                <a:solidFill>
                  <a:srgbClr val="0078D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r>
              <a:rPr lang="en-US"/>
              <a:t>Click to edit </a:t>
            </a:r>
          </a:p>
        </p:txBody>
      </p:sp>
      <p:sp>
        <p:nvSpPr>
          <p:cNvPr id="84" name="Available with">
            <a:extLst>
              <a:ext uri="{FF2B5EF4-FFF2-40B4-BE49-F238E27FC236}">
                <a16:creationId xmlns:a16="http://schemas.microsoft.com/office/drawing/2014/main" id="{8D8427AA-F015-D373-46E2-2EB1053D80CE}"/>
              </a:ext>
            </a:extLst>
          </p:cNvPr>
          <p:cNvSpPr txBox="1"/>
          <p:nvPr userDrawn="1"/>
        </p:nvSpPr>
        <p:spPr>
          <a:xfrm>
            <a:off x="9126798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Available with:</a:t>
            </a:r>
          </a:p>
        </p:txBody>
      </p:sp>
      <p:sp>
        <p:nvSpPr>
          <p:cNvPr id="103" name="Licenses">
            <a:extLst>
              <a:ext uri="{FF2B5EF4-FFF2-40B4-BE49-F238E27FC236}">
                <a16:creationId xmlns:a16="http://schemas.microsoft.com/office/drawing/2014/main" id="{6B562108-00FE-5F42-7550-13BB7DE58E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49557" y="521100"/>
            <a:ext cx="2969488" cy="169277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0" i="0" spc="0" baseline="0">
                <a:solidFill>
                  <a:srgbClr val="C03BC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216CED8-8F45-B380-FB1B-B9408979340F}"/>
              </a:ext>
            </a:extLst>
          </p:cNvPr>
          <p:cNvCxnSpPr/>
          <p:nvPr userDrawn="1"/>
        </p:nvCxnSpPr>
        <p:spPr>
          <a:xfrm>
            <a:off x="10357789" y="358721"/>
            <a:ext cx="0" cy="331655"/>
          </a:xfrm>
          <a:prstGeom prst="line">
            <a:avLst/>
          </a:prstGeom>
          <a:ln>
            <a:solidFill>
              <a:srgbClr val="B1B3B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12">
            <a:extLst>
              <a:ext uri="{FF2B5EF4-FFF2-40B4-BE49-F238E27FC236}">
                <a16:creationId xmlns:a16="http://schemas.microsoft.com/office/drawing/2014/main" id="{26B05CF8-4E6B-B8CC-5AA9-B8ED44639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2556" y="429376"/>
            <a:ext cx="4144817" cy="276999"/>
          </a:xfrm>
        </p:spPr>
        <p:txBody>
          <a:bodyPr anchor="ctr"/>
          <a:lstStyle>
            <a:lvl1pPr>
              <a:defRPr lang="en-US" sz="18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</a:t>
            </a:r>
          </a:p>
        </p:txBody>
      </p:sp>
      <p:sp>
        <p:nvSpPr>
          <p:cNvPr id="74" name="Rectangle: Top Corners Rounded 73">
            <a:extLst>
              <a:ext uri="{FF2B5EF4-FFF2-40B4-BE49-F238E27FC236}">
                <a16:creationId xmlns:a16="http://schemas.microsoft.com/office/drawing/2014/main" id="{9C693E26-EC61-AEAC-C1C4-733CBC83CC4A}"/>
              </a:ext>
            </a:extLst>
          </p:cNvPr>
          <p:cNvSpPr>
            <a:spLocks/>
          </p:cNvSpPr>
          <p:nvPr userDrawn="1"/>
        </p:nvSpPr>
        <p:spPr bwMode="auto">
          <a:xfrm rot="16200000" flipV="1">
            <a:off x="6107793" y="-1681313"/>
            <a:ext cx="2612241" cy="8679949"/>
          </a:xfrm>
          <a:custGeom>
            <a:avLst/>
            <a:gdLst>
              <a:gd name="connsiteX0" fmla="*/ 163683 w 2612241"/>
              <a:gd name="connsiteY0" fmla="*/ 0 h 8666696"/>
              <a:gd name="connsiteX1" fmla="*/ 2448558 w 2612241"/>
              <a:gd name="connsiteY1" fmla="*/ 0 h 8666696"/>
              <a:gd name="connsiteX2" fmla="*/ 2612241 w 2612241"/>
              <a:gd name="connsiteY2" fmla="*/ 163683 h 8666696"/>
              <a:gd name="connsiteX3" fmla="*/ 2612241 w 2612241"/>
              <a:gd name="connsiteY3" fmla="*/ 8666696 h 8666696"/>
              <a:gd name="connsiteX4" fmla="*/ 2612241 w 2612241"/>
              <a:gd name="connsiteY4" fmla="*/ 8666696 h 8666696"/>
              <a:gd name="connsiteX5" fmla="*/ 0 w 2612241"/>
              <a:gd name="connsiteY5" fmla="*/ 8666696 h 8666696"/>
              <a:gd name="connsiteX6" fmla="*/ 0 w 2612241"/>
              <a:gd name="connsiteY6" fmla="*/ 8666696 h 8666696"/>
              <a:gd name="connsiteX7" fmla="*/ 0 w 2612241"/>
              <a:gd name="connsiteY7" fmla="*/ 163683 h 8666696"/>
              <a:gd name="connsiteX8" fmla="*/ 163683 w 2612241"/>
              <a:gd name="connsiteY8" fmla="*/ 0 h 8666696"/>
              <a:gd name="connsiteX0" fmla="*/ 0 w 2612241"/>
              <a:gd name="connsiteY0" fmla="*/ 8666696 h 8758136"/>
              <a:gd name="connsiteX1" fmla="*/ 0 w 2612241"/>
              <a:gd name="connsiteY1" fmla="*/ 163683 h 8758136"/>
              <a:gd name="connsiteX2" fmla="*/ 163683 w 2612241"/>
              <a:gd name="connsiteY2" fmla="*/ 0 h 8758136"/>
              <a:gd name="connsiteX3" fmla="*/ 2448558 w 2612241"/>
              <a:gd name="connsiteY3" fmla="*/ 0 h 8758136"/>
              <a:gd name="connsiteX4" fmla="*/ 2612241 w 2612241"/>
              <a:gd name="connsiteY4" fmla="*/ 163683 h 8758136"/>
              <a:gd name="connsiteX5" fmla="*/ 2612241 w 2612241"/>
              <a:gd name="connsiteY5" fmla="*/ 8666696 h 8758136"/>
              <a:gd name="connsiteX6" fmla="*/ 2612241 w 2612241"/>
              <a:gd name="connsiteY6" fmla="*/ 8666696 h 8758136"/>
              <a:gd name="connsiteX7" fmla="*/ 0 w 2612241"/>
              <a:gd name="connsiteY7" fmla="*/ 8666696 h 8758136"/>
              <a:gd name="connsiteX8" fmla="*/ 91440 w 2612241"/>
              <a:gd name="connsiteY8" fmla="*/ 8758136 h 8758136"/>
              <a:gd name="connsiteX0" fmla="*/ 0 w 2612241"/>
              <a:gd name="connsiteY0" fmla="*/ 8666696 h 8666696"/>
              <a:gd name="connsiteX1" fmla="*/ 0 w 2612241"/>
              <a:gd name="connsiteY1" fmla="*/ 163683 h 8666696"/>
              <a:gd name="connsiteX2" fmla="*/ 163683 w 2612241"/>
              <a:gd name="connsiteY2" fmla="*/ 0 h 8666696"/>
              <a:gd name="connsiteX3" fmla="*/ 2448558 w 2612241"/>
              <a:gd name="connsiteY3" fmla="*/ 0 h 8666696"/>
              <a:gd name="connsiteX4" fmla="*/ 2612241 w 2612241"/>
              <a:gd name="connsiteY4" fmla="*/ 163683 h 8666696"/>
              <a:gd name="connsiteX5" fmla="*/ 2612241 w 2612241"/>
              <a:gd name="connsiteY5" fmla="*/ 8666696 h 8666696"/>
              <a:gd name="connsiteX6" fmla="*/ 2612241 w 2612241"/>
              <a:gd name="connsiteY6" fmla="*/ 8666696 h 8666696"/>
              <a:gd name="connsiteX7" fmla="*/ 0 w 2612241"/>
              <a:gd name="connsiteY7" fmla="*/ 8666696 h 8666696"/>
              <a:gd name="connsiteX0" fmla="*/ 0 w 2612241"/>
              <a:gd name="connsiteY0" fmla="*/ 8666696 h 8666696"/>
              <a:gd name="connsiteX1" fmla="*/ 0 w 2612241"/>
              <a:gd name="connsiteY1" fmla="*/ 163683 h 8666696"/>
              <a:gd name="connsiteX2" fmla="*/ 163683 w 2612241"/>
              <a:gd name="connsiteY2" fmla="*/ 0 h 8666696"/>
              <a:gd name="connsiteX3" fmla="*/ 2448558 w 2612241"/>
              <a:gd name="connsiteY3" fmla="*/ 0 h 8666696"/>
              <a:gd name="connsiteX4" fmla="*/ 2612241 w 2612241"/>
              <a:gd name="connsiteY4" fmla="*/ 163683 h 8666696"/>
              <a:gd name="connsiteX5" fmla="*/ 2612241 w 2612241"/>
              <a:gd name="connsiteY5" fmla="*/ 8666696 h 8666696"/>
              <a:gd name="connsiteX6" fmla="*/ 2612241 w 2612241"/>
              <a:gd name="connsiteY6" fmla="*/ 8666696 h 8666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12241" h="8666696">
                <a:moveTo>
                  <a:pt x="0" y="8666696"/>
                </a:moveTo>
                <a:lnTo>
                  <a:pt x="0" y="163683"/>
                </a:lnTo>
                <a:cubicBezTo>
                  <a:pt x="0" y="73283"/>
                  <a:pt x="73283" y="0"/>
                  <a:pt x="163683" y="0"/>
                </a:cubicBezTo>
                <a:lnTo>
                  <a:pt x="2448558" y="0"/>
                </a:lnTo>
                <a:cubicBezTo>
                  <a:pt x="2538958" y="0"/>
                  <a:pt x="2612241" y="73283"/>
                  <a:pt x="2612241" y="163683"/>
                </a:cubicBezTo>
                <a:lnTo>
                  <a:pt x="2612241" y="8666696"/>
                </a:lnTo>
                <a:lnTo>
                  <a:pt x="2612241" y="8666696"/>
                </a:lnTo>
              </a:path>
            </a:pathLst>
          </a:custGeom>
          <a:ln w="15875" cap="flat">
            <a:gradFill flip="none" rotWithShape="1">
              <a:gsLst>
                <a:gs pos="0">
                  <a:srgbClr val="0078D4"/>
                </a:gs>
                <a:gs pos="100000">
                  <a:schemeClr val="accent3"/>
                </a:gs>
              </a:gsLst>
              <a:lin ang="16200000" scaled="1"/>
              <a:tileRect/>
            </a:gradFill>
            <a:headEnd type="none" w="lg" len="med"/>
            <a:tailEnd type="none" w="lg" len="med"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8467A5F-7BA2-6E3A-1EFE-31FAA4F5B2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05591" y="1247214"/>
            <a:ext cx="210652" cy="210652"/>
            <a:chOff x="5214995" y="-1168400"/>
            <a:chExt cx="431800" cy="43180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514AE07-2437-886C-64BF-90FCDB18900D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47" name="Rectangle 89">
              <a:extLst>
                <a:ext uri="{FF2B5EF4-FFF2-40B4-BE49-F238E27FC236}">
                  <a16:creationId xmlns:a16="http://schemas.microsoft.com/office/drawing/2014/main" id="{F1304105-F302-1DA2-7A52-41BBBCC44EED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C32FE7B-F07D-C499-EA83-97D8A5B9D9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689384" y="1247214"/>
            <a:ext cx="210652" cy="210652"/>
            <a:chOff x="5214995" y="-1168400"/>
            <a:chExt cx="431800" cy="431800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4D7ABAD2-6246-A1F3-5E86-044B3D8C3074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59" name="Rectangle 89">
              <a:extLst>
                <a:ext uri="{FF2B5EF4-FFF2-40B4-BE49-F238E27FC236}">
                  <a16:creationId xmlns:a16="http://schemas.microsoft.com/office/drawing/2014/main" id="{0E6F2315-5317-6C1E-5DF8-4BE9FE7C7CA6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B13FA4-84C5-6F46-C1BB-22875F9B20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11648565" y="3486389"/>
            <a:ext cx="210652" cy="210652"/>
            <a:chOff x="5214995" y="-1168400"/>
            <a:chExt cx="431800" cy="4318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7D4A430-8084-5075-B04A-2E8CDD118B76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62" name="Rectangle 89">
              <a:extLst>
                <a:ext uri="{FF2B5EF4-FFF2-40B4-BE49-F238E27FC236}">
                  <a16:creationId xmlns:a16="http://schemas.microsoft.com/office/drawing/2014/main" id="{ABE5358E-92F9-96A5-6FDB-150E91A8AF78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EFFD46EF-67A1-2B45-C906-05C4ACC2DA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5805591" y="3859456"/>
            <a:ext cx="210652" cy="210652"/>
            <a:chOff x="5214995" y="-1168400"/>
            <a:chExt cx="431800" cy="43180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14ED043E-EA90-195B-771E-CE53479D2BC8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65" name="Rectangle 89">
              <a:extLst>
                <a:ext uri="{FF2B5EF4-FFF2-40B4-BE49-F238E27FC236}">
                  <a16:creationId xmlns:a16="http://schemas.microsoft.com/office/drawing/2014/main" id="{3853106D-E38A-371E-B378-89F7601572D3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B2872BD-57A1-5A98-BBEC-120407B234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8689384" y="3859456"/>
            <a:ext cx="210652" cy="210652"/>
            <a:chOff x="5214995" y="-1168400"/>
            <a:chExt cx="431800" cy="43180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C271353-C79B-E3BF-32F5-48C1A526FF02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69" name="Rectangle 89">
              <a:extLst>
                <a:ext uri="{FF2B5EF4-FFF2-40B4-BE49-F238E27FC236}">
                  <a16:creationId xmlns:a16="http://schemas.microsoft.com/office/drawing/2014/main" id="{B93F1E4A-9BA7-C4D0-83D8-2451A1DEAD80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977582E-F97B-70B5-CB03-F46869F849CD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82890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81" name="Step 1 Title">
            <a:extLst>
              <a:ext uri="{FF2B5EF4-FFF2-40B4-BE49-F238E27FC236}">
                <a16:creationId xmlns:a16="http://schemas.microsoft.com/office/drawing/2014/main" id="{7E33DF77-DD28-CC24-9FC2-0AD434BCF4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82890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Step 1 Top">
            <a:extLst>
              <a:ext uri="{FF2B5EF4-FFF2-40B4-BE49-F238E27FC236}">
                <a16:creationId xmlns:a16="http://schemas.microsoft.com/office/drawing/2014/main" id="{4B00355E-1235-20E9-A051-604C9CFEC8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82890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Step 1 Title">
            <a:extLst>
              <a:ext uri="{FF2B5EF4-FFF2-40B4-BE49-F238E27FC236}">
                <a16:creationId xmlns:a16="http://schemas.microsoft.com/office/drawing/2014/main" id="{2F0B0E91-BF30-3362-2F5C-B3C5D2B134A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066682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2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Step 1 Top">
            <a:extLst>
              <a:ext uri="{FF2B5EF4-FFF2-40B4-BE49-F238E27FC236}">
                <a16:creationId xmlns:a16="http://schemas.microsoft.com/office/drawing/2014/main" id="{4F227FB4-9BBF-2C43-E0ED-95EC51590A0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066682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33075CE-083E-DACE-75B9-DDCB2E437557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8950475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93" name="Step 1 Title">
            <a:extLst>
              <a:ext uri="{FF2B5EF4-FFF2-40B4-BE49-F238E27FC236}">
                <a16:creationId xmlns:a16="http://schemas.microsoft.com/office/drawing/2014/main" id="{78B57A65-16AE-5996-C81D-89A1171052D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950475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3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4" name="Step 1 Top">
            <a:extLst>
              <a:ext uri="{FF2B5EF4-FFF2-40B4-BE49-F238E27FC236}">
                <a16:creationId xmlns:a16="http://schemas.microsoft.com/office/drawing/2014/main" id="{6B743263-A0E0-B08F-8640-1A6F2A47401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50475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E828537-77ED-661B-164D-7972C8F2B3CF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66682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02" name="Text Placeholder 11">
            <a:extLst>
              <a:ext uri="{FF2B5EF4-FFF2-40B4-BE49-F238E27FC236}">
                <a16:creationId xmlns:a16="http://schemas.microsoft.com/office/drawing/2014/main" id="{B7B6A3B2-F891-96DB-EDD6-15440AF2E8C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182890" y="5334522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04" name="Step 1 Title">
            <a:extLst>
              <a:ext uri="{FF2B5EF4-FFF2-40B4-BE49-F238E27FC236}">
                <a16:creationId xmlns:a16="http://schemas.microsoft.com/office/drawing/2014/main" id="{0F93BF10-EBCF-85EF-D1B2-A7563451D76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182890" y="3725103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6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Step 1 Top">
            <a:extLst>
              <a:ext uri="{FF2B5EF4-FFF2-40B4-BE49-F238E27FC236}">
                <a16:creationId xmlns:a16="http://schemas.microsoft.com/office/drawing/2014/main" id="{C1C2FA4E-D061-ECCE-C8BB-24C647D6010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82890" y="4050957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9" name="Step 1 Title">
            <a:extLst>
              <a:ext uri="{FF2B5EF4-FFF2-40B4-BE49-F238E27FC236}">
                <a16:creationId xmlns:a16="http://schemas.microsoft.com/office/drawing/2014/main" id="{9CB910C7-53F5-CD35-F7B3-ED8F5DD4F6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066682" y="3725103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5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0" name="Step 1 Top">
            <a:extLst>
              <a:ext uri="{FF2B5EF4-FFF2-40B4-BE49-F238E27FC236}">
                <a16:creationId xmlns:a16="http://schemas.microsoft.com/office/drawing/2014/main" id="{E81FD2D6-1B95-AE76-667E-A7ADD3CD3A5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066682" y="4050957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19D255C6-A463-0E1B-EFD1-0675518123E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950475" y="5334522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22" name="Step 1 Title">
            <a:extLst>
              <a:ext uri="{FF2B5EF4-FFF2-40B4-BE49-F238E27FC236}">
                <a16:creationId xmlns:a16="http://schemas.microsoft.com/office/drawing/2014/main" id="{A1FCE115-20B6-1C4D-4833-053AE41AEBD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950475" y="3725103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4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3" name="Step 1 Top">
            <a:extLst>
              <a:ext uri="{FF2B5EF4-FFF2-40B4-BE49-F238E27FC236}">
                <a16:creationId xmlns:a16="http://schemas.microsoft.com/office/drawing/2014/main" id="{3D5F63B4-9275-D6B7-3A0E-699C0C868EA5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950475" y="4050957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9AEFB6C2-AB19-3A46-843C-CF95D15344CB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066682" y="5334522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7" name="Footnote">
            <a:extLst>
              <a:ext uri="{FF2B5EF4-FFF2-40B4-BE49-F238E27FC236}">
                <a16:creationId xmlns:a16="http://schemas.microsoft.com/office/drawing/2014/main" id="{AC05EA29-0447-0506-FB1B-E11117B0DF2E}"/>
              </a:ext>
            </a:extLst>
          </p:cNvPr>
          <p:cNvSpPr txBox="1">
            <a:spLocks/>
          </p:cNvSpPr>
          <p:nvPr userDrawn="1"/>
        </p:nvSpPr>
        <p:spPr>
          <a:xfrm>
            <a:off x="320040" y="6309360"/>
            <a:ext cx="959741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7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1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or the Microsoft 365 Copilot Chat mobile app and set toggle to “Web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2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the Microsoft 365 Copilot Chat mobile app, or the M365 Copilot Chat app in Teams, and set toggle to “Work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3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I Agents allow Copilot to access your organization-specific apps. In the past this would have required an API call to get data from a system of record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he content in this example scenario is for demonstration purposes only. You should evaluate how Copilot aligns with your organization’s business processes, regulatory requirements, and responsible AI principles.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1FD8182-9192-3293-3C25-613D50894B8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20721" y="4709762"/>
            <a:ext cx="1131651" cy="219456"/>
          </a:xfrm>
          <a:prstGeom prst="roundRect">
            <a:avLst>
              <a:gd name="adj" fmla="val 50000"/>
            </a:avLst>
          </a:prstGeom>
          <a:solidFill>
            <a:srgbClr val="C03BC4"/>
          </a:solidFill>
          <a:ln w="12700">
            <a:solidFill>
              <a:srgbClr val="C03BC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DD81CAF3-1B44-C8D0-3BB0-F3DD087633FA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0721" y="3467940"/>
            <a:ext cx="1131650" cy="219456"/>
          </a:xfrm>
          <a:prstGeom prst="roundRect">
            <a:avLst>
              <a:gd name="adj" fmla="val 50000"/>
            </a:avLst>
          </a:prstGeom>
          <a:solidFill>
            <a:srgbClr val="0078D4"/>
          </a:solidFill>
          <a:ln w="12700">
            <a:solidFill>
              <a:srgbClr val="0078D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2458303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0">
          <p15:clr>
            <a:srgbClr val="A4A3A4"/>
          </p15:clr>
        </p15:guide>
        <p15:guide id="8" pos="1368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36">
          <p15:clr>
            <a:srgbClr val="A4A3A4"/>
          </p15:clr>
        </p15:guide>
        <p15:guide id="14" pos="3168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cenario five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94A1448-F8D7-EA0F-E466-136E038AA3F1}"/>
              </a:ext>
            </a:extLst>
          </p:cNvPr>
          <p:cNvCxnSpPr>
            <a:cxnSpLocks/>
          </p:cNvCxnSpPr>
          <p:nvPr userDrawn="1"/>
        </p:nvCxnSpPr>
        <p:spPr>
          <a:xfrm>
            <a:off x="3182889" y="1352539"/>
            <a:ext cx="8339848" cy="0"/>
          </a:xfrm>
          <a:prstGeom prst="line">
            <a:avLst/>
          </a:prstGeom>
          <a:ln w="15875" cap="flat">
            <a:gradFill flip="none" rotWithShape="1">
              <a:gsLst>
                <a:gs pos="0">
                  <a:srgbClr val="0078D4"/>
                </a:gs>
                <a:gs pos="100000">
                  <a:schemeClr val="accent3"/>
                </a:gs>
              </a:gsLst>
              <a:lin ang="16200000" scaled="1"/>
              <a:tileRect/>
            </a:gradFill>
            <a:headEnd type="none" w="lg" len="med"/>
            <a:tailEnd type="none" w="lg" len="med"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C6C3234-D3F7-EB91-19FC-3FF3921A6EF7}"/>
              </a:ext>
            </a:extLst>
          </p:cNvPr>
          <p:cNvSpPr>
            <a:spLocks/>
          </p:cNvSpPr>
          <p:nvPr userDrawn="1"/>
        </p:nvSpPr>
        <p:spPr bwMode="auto">
          <a:xfrm>
            <a:off x="2179638" y="304726"/>
            <a:ext cx="4582191" cy="526298"/>
          </a:xfrm>
          <a:prstGeom prst="roundRect">
            <a:avLst/>
          </a:prstGeom>
          <a:solidFill>
            <a:srgbClr val="DDEEF8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54000" algn="ctr" rotWithShape="0">
              <a:schemeClr val="bg1">
                <a:lumMod val="75000"/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148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489450-2B99-F45D-B0AD-1BD8CA42038B}"/>
              </a:ext>
            </a:extLst>
          </p:cNvPr>
          <p:cNvSpPr txBox="1">
            <a:spLocks/>
          </p:cNvSpPr>
          <p:nvPr userDrawn="1"/>
        </p:nvSpPr>
        <p:spPr>
          <a:xfrm>
            <a:off x="0" y="304726"/>
            <a:ext cx="2431247" cy="526298"/>
          </a:xfrm>
          <a:custGeom>
            <a:avLst/>
            <a:gdLst>
              <a:gd name="connsiteX0" fmla="*/ 1993 w 2431247"/>
              <a:gd name="connsiteY0" fmla="*/ 0 h 526298"/>
              <a:gd name="connsiteX1" fmla="*/ 2338766 w 2431247"/>
              <a:gd name="connsiteY1" fmla="*/ 0 h 526298"/>
              <a:gd name="connsiteX2" fmla="*/ 2431247 w 2431247"/>
              <a:gd name="connsiteY2" fmla="*/ 92481 h 526298"/>
              <a:gd name="connsiteX3" fmla="*/ 2431247 w 2431247"/>
              <a:gd name="connsiteY3" fmla="*/ 433817 h 526298"/>
              <a:gd name="connsiteX4" fmla="*/ 2338766 w 2431247"/>
              <a:gd name="connsiteY4" fmla="*/ 526298 h 526298"/>
              <a:gd name="connsiteX5" fmla="*/ 1993 w 2431247"/>
              <a:gd name="connsiteY5" fmla="*/ 526298 h 526298"/>
              <a:gd name="connsiteX6" fmla="*/ 0 w 2431247"/>
              <a:gd name="connsiteY6" fmla="*/ 525896 h 526298"/>
              <a:gd name="connsiteX7" fmla="*/ 0 w 2431247"/>
              <a:gd name="connsiteY7" fmla="*/ 402 h 526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1247" h="526298">
                <a:moveTo>
                  <a:pt x="1993" y="0"/>
                </a:moveTo>
                <a:lnTo>
                  <a:pt x="2338766" y="0"/>
                </a:lnTo>
                <a:cubicBezTo>
                  <a:pt x="2389842" y="0"/>
                  <a:pt x="2431247" y="41405"/>
                  <a:pt x="2431247" y="92481"/>
                </a:cubicBezTo>
                <a:lnTo>
                  <a:pt x="2431247" y="433817"/>
                </a:lnTo>
                <a:cubicBezTo>
                  <a:pt x="2431247" y="484893"/>
                  <a:pt x="2389842" y="526298"/>
                  <a:pt x="2338766" y="526298"/>
                </a:cubicBezTo>
                <a:lnTo>
                  <a:pt x="1993" y="526298"/>
                </a:lnTo>
                <a:lnTo>
                  <a:pt x="0" y="525896"/>
                </a:lnTo>
                <a:lnTo>
                  <a:pt x="0" y="402"/>
                </a:lnTo>
                <a:close/>
              </a:path>
            </a:pathLst>
          </a:cu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/>
        </p:spPr>
        <p:txBody>
          <a:bodyPr vert="horz" wrap="square" lIns="310896" tIns="0" rIns="0" bIns="0" rtlCol="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200" b="1" i="0" kern="1200" spc="0" baseline="0">
                <a:solidFill>
                  <a:srgbClr val="FFFFFF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71" name="Scenario Level">
            <a:extLst>
              <a:ext uri="{FF2B5EF4-FFF2-40B4-BE49-F238E27FC236}">
                <a16:creationId xmlns:a16="http://schemas.microsoft.com/office/drawing/2014/main" id="{5C914349-B5B3-D703-EE31-78482DD3DAA9}"/>
              </a:ext>
            </a:extLst>
          </p:cNvPr>
          <p:cNvSpPr txBox="1"/>
          <p:nvPr userDrawn="1"/>
        </p:nvSpPr>
        <p:spPr>
          <a:xfrm>
            <a:off x="10895070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Scenario level:</a:t>
            </a:r>
          </a:p>
        </p:txBody>
      </p:sp>
      <p:sp>
        <p:nvSpPr>
          <p:cNvPr id="73" name="Available with">
            <a:extLst>
              <a:ext uri="{FF2B5EF4-FFF2-40B4-BE49-F238E27FC236}">
                <a16:creationId xmlns:a16="http://schemas.microsoft.com/office/drawing/2014/main" id="{1E59605F-F04E-58C0-102B-28C6AFF01B7D}"/>
              </a:ext>
            </a:extLst>
          </p:cNvPr>
          <p:cNvSpPr txBox="1"/>
          <p:nvPr userDrawn="1"/>
        </p:nvSpPr>
        <p:spPr>
          <a:xfrm>
            <a:off x="9126798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Available with: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84F79FD-8FB8-5727-A3FB-9193B8AF441D}"/>
              </a:ext>
            </a:extLst>
          </p:cNvPr>
          <p:cNvCxnSpPr/>
          <p:nvPr userDrawn="1"/>
        </p:nvCxnSpPr>
        <p:spPr>
          <a:xfrm>
            <a:off x="10357789" y="358721"/>
            <a:ext cx="0" cy="331655"/>
          </a:xfrm>
          <a:prstGeom prst="line">
            <a:avLst/>
          </a:prstGeom>
          <a:ln>
            <a:solidFill>
              <a:srgbClr val="B1B3B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ECD8F809-3EF5-43AD-9927-8D87766BB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05591" y="1247214"/>
            <a:ext cx="210652" cy="210652"/>
            <a:chOff x="5214995" y="-1168400"/>
            <a:chExt cx="431800" cy="43180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BD95EE76-3BB3-5D96-1162-650D8265E79B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81" name="Rectangle 89">
              <a:extLst>
                <a:ext uri="{FF2B5EF4-FFF2-40B4-BE49-F238E27FC236}">
                  <a16:creationId xmlns:a16="http://schemas.microsoft.com/office/drawing/2014/main" id="{C479534D-98FF-6F65-ECCB-79C6294552EA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684A0D0-9EC4-FC0C-B023-76950C80DF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689384" y="1247214"/>
            <a:ext cx="210652" cy="210652"/>
            <a:chOff x="5214995" y="-1168400"/>
            <a:chExt cx="431800" cy="43180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C82D2312-1888-7E4C-63E7-F0B9A0902E6D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85" name="Rectangle 89">
              <a:extLst>
                <a:ext uri="{FF2B5EF4-FFF2-40B4-BE49-F238E27FC236}">
                  <a16:creationId xmlns:a16="http://schemas.microsoft.com/office/drawing/2014/main" id="{E1424AAE-0B41-949F-3E6D-9A5D7323D7DB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10" name="Title 9">
            <a:extLst>
              <a:ext uri="{FF2B5EF4-FFF2-40B4-BE49-F238E27FC236}">
                <a16:creationId xmlns:a16="http://schemas.microsoft.com/office/drawing/2014/main" id="{37120404-23B9-B744-0816-1D0C351C9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2556" y="429376"/>
            <a:ext cx="4144817" cy="276999"/>
          </a:xfrm>
        </p:spPr>
        <p:txBody>
          <a:bodyPr/>
          <a:lstStyle>
            <a:lvl1pPr>
              <a:defRPr lang="en-IN" sz="1800" kern="1200" spc="-50" baseline="0" dirty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Text Placeholder 70">
            <a:extLst>
              <a:ext uri="{FF2B5EF4-FFF2-40B4-BE49-F238E27FC236}">
                <a16:creationId xmlns:a16="http://schemas.microsoft.com/office/drawing/2014/main" id="{BECC6E1E-CB20-24F2-9CE6-B77C08524D0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04796" y="413987"/>
            <a:ext cx="1941119" cy="307777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000" spc="-50" baseline="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4" name="Licenses">
            <a:extLst>
              <a:ext uri="{FF2B5EF4-FFF2-40B4-BE49-F238E27FC236}">
                <a16:creationId xmlns:a16="http://schemas.microsoft.com/office/drawing/2014/main" id="{E442F0DF-3967-354D-A17D-A2229F6B3036}"/>
              </a:ext>
            </a:extLst>
          </p:cNvPr>
          <p:cNvSpPr>
            <a:spLocks noGrp="1"/>
          </p:cNvSpPr>
          <p:nvPr userDrawn="1">
            <p:ph type="body" sz="quarter" idx="44"/>
          </p:nvPr>
        </p:nvSpPr>
        <p:spPr>
          <a:xfrm>
            <a:off x="7149557" y="521100"/>
            <a:ext cx="2969488" cy="169277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0" baseline="0">
                <a:solidFill>
                  <a:srgbClr val="C03BC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2" name="Level">
            <a:extLst>
              <a:ext uri="{FF2B5EF4-FFF2-40B4-BE49-F238E27FC236}">
                <a16:creationId xmlns:a16="http://schemas.microsoft.com/office/drawing/2014/main" id="{0CD96223-5C6F-D226-0888-B8E8522B7793}"/>
              </a:ext>
            </a:extLst>
          </p:cNvPr>
          <p:cNvSpPr>
            <a:spLocks noGrp="1"/>
          </p:cNvSpPr>
          <p:nvPr userDrawn="1">
            <p:ph type="body" sz="quarter" idx="43"/>
          </p:nvPr>
        </p:nvSpPr>
        <p:spPr>
          <a:xfrm>
            <a:off x="10430351" y="521099"/>
            <a:ext cx="1456966" cy="175614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0" baseline="0">
                <a:solidFill>
                  <a:srgbClr val="0078D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r>
              <a:rPr lang="en-US"/>
              <a:t>Click to edit</a:t>
            </a:r>
          </a:p>
        </p:txBody>
      </p:sp>
      <p:sp>
        <p:nvSpPr>
          <p:cNvPr id="14" name="Step 5 Top">
            <a:extLst>
              <a:ext uri="{FF2B5EF4-FFF2-40B4-BE49-F238E27FC236}">
                <a16:creationId xmlns:a16="http://schemas.microsoft.com/office/drawing/2014/main" id="{5F6FC536-93D3-A645-6321-E19971F6F7A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11388" y="1026303"/>
            <a:ext cx="2431246" cy="1131079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kumimoji="0" lang="en-US" sz="1050" b="0" i="0" u="none" strike="noStrike" kern="1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3" name="Text Placeholder 8">
            <a:extLst>
              <a:ext uri="{FF2B5EF4-FFF2-40B4-BE49-F238E27FC236}">
                <a16:creationId xmlns:a16="http://schemas.microsoft.com/office/drawing/2014/main" id="{20290FDF-B386-A402-3F54-8F38D89E3855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0721" y="3467940"/>
            <a:ext cx="1131650" cy="219456"/>
          </a:xfrm>
          <a:prstGeom prst="roundRect">
            <a:avLst>
              <a:gd name="adj" fmla="val 50000"/>
            </a:avLst>
          </a:prstGeom>
          <a:solidFill>
            <a:srgbClr val="0078D4"/>
          </a:solidFill>
          <a:ln w="12700">
            <a:solidFill>
              <a:srgbClr val="0078D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52" name="Text Placeholder 8">
            <a:extLst>
              <a:ext uri="{FF2B5EF4-FFF2-40B4-BE49-F238E27FC236}">
                <a16:creationId xmlns:a16="http://schemas.microsoft.com/office/drawing/2014/main" id="{CC259F50-FF88-8A52-A7A2-B916E54D0007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20721" y="4709762"/>
            <a:ext cx="1131651" cy="219456"/>
          </a:xfrm>
          <a:prstGeom prst="roundRect">
            <a:avLst>
              <a:gd name="adj" fmla="val 50000"/>
            </a:avLst>
          </a:prstGeom>
          <a:solidFill>
            <a:srgbClr val="C03BC4"/>
          </a:solidFill>
          <a:ln w="12700">
            <a:solidFill>
              <a:srgbClr val="C03BC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4" name="Step 1 Title">
            <a:extLst>
              <a:ext uri="{FF2B5EF4-FFF2-40B4-BE49-F238E27FC236}">
                <a16:creationId xmlns:a16="http://schemas.microsoft.com/office/drawing/2014/main" id="{AAECE90F-E2FD-C50D-2380-5A623E6E68CC}"/>
              </a:ext>
            </a:extLst>
          </p:cNvPr>
          <p:cNvSpPr>
            <a:spLocks noGrp="1"/>
          </p:cNvSpPr>
          <p:nvPr userDrawn="1">
            <p:ph type="body" sz="quarter" idx="47"/>
          </p:nvPr>
        </p:nvSpPr>
        <p:spPr>
          <a:xfrm>
            <a:off x="3182890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0" name="Step 1 Top">
            <a:extLst>
              <a:ext uri="{FF2B5EF4-FFF2-40B4-BE49-F238E27FC236}">
                <a16:creationId xmlns:a16="http://schemas.microsoft.com/office/drawing/2014/main" id="{A10522D6-287E-CAF9-7877-202543AC084D}"/>
              </a:ext>
            </a:extLst>
          </p:cNvPr>
          <p:cNvSpPr>
            <a:spLocks noGrp="1"/>
          </p:cNvSpPr>
          <p:nvPr userDrawn="1">
            <p:ph type="body" sz="quarter" idx="48"/>
          </p:nvPr>
        </p:nvSpPr>
        <p:spPr>
          <a:xfrm>
            <a:off x="3182890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2" name="Text Placeholder 11">
            <a:extLst>
              <a:ext uri="{FF2B5EF4-FFF2-40B4-BE49-F238E27FC236}">
                <a16:creationId xmlns:a16="http://schemas.microsoft.com/office/drawing/2014/main" id="{899216D1-14EF-7DC6-A6A8-3649535AF5E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182889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 algn="l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14" name="Step 1 Title">
            <a:extLst>
              <a:ext uri="{FF2B5EF4-FFF2-40B4-BE49-F238E27FC236}">
                <a16:creationId xmlns:a16="http://schemas.microsoft.com/office/drawing/2014/main" id="{AFF8CAD5-73C9-15E8-C15B-5669E59EDF22}"/>
              </a:ext>
            </a:extLst>
          </p:cNvPr>
          <p:cNvSpPr>
            <a:spLocks noGrp="1"/>
          </p:cNvSpPr>
          <p:nvPr userDrawn="1">
            <p:ph type="body" sz="quarter" idx="49"/>
          </p:nvPr>
        </p:nvSpPr>
        <p:spPr>
          <a:xfrm>
            <a:off x="6066682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2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9" name="Step 1 Top">
            <a:extLst>
              <a:ext uri="{FF2B5EF4-FFF2-40B4-BE49-F238E27FC236}">
                <a16:creationId xmlns:a16="http://schemas.microsoft.com/office/drawing/2014/main" id="{CBBB447E-62C7-3EE8-58FD-A63BA4091DC2}"/>
              </a:ext>
            </a:extLst>
          </p:cNvPr>
          <p:cNvSpPr>
            <a:spLocks noGrp="1"/>
          </p:cNvSpPr>
          <p:nvPr userDrawn="1">
            <p:ph type="body" sz="quarter" idx="50"/>
          </p:nvPr>
        </p:nvSpPr>
        <p:spPr>
          <a:xfrm>
            <a:off x="6066682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F6E7EFF7-AB37-8C10-0D72-C219A327442B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6066682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 algn="l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27" name="Step 1 Title">
            <a:extLst>
              <a:ext uri="{FF2B5EF4-FFF2-40B4-BE49-F238E27FC236}">
                <a16:creationId xmlns:a16="http://schemas.microsoft.com/office/drawing/2014/main" id="{DC3628C0-ED08-9682-4738-5B06F7C21C56}"/>
              </a:ext>
            </a:extLst>
          </p:cNvPr>
          <p:cNvSpPr>
            <a:spLocks noGrp="1"/>
          </p:cNvSpPr>
          <p:nvPr userDrawn="1">
            <p:ph type="body" sz="quarter" idx="52"/>
          </p:nvPr>
        </p:nvSpPr>
        <p:spPr>
          <a:xfrm>
            <a:off x="8950475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3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8" name="Step 1 Top">
            <a:extLst>
              <a:ext uri="{FF2B5EF4-FFF2-40B4-BE49-F238E27FC236}">
                <a16:creationId xmlns:a16="http://schemas.microsoft.com/office/drawing/2014/main" id="{E91EBCF2-F3C6-3640-61AD-0C42AE3B6C92}"/>
              </a:ext>
            </a:extLst>
          </p:cNvPr>
          <p:cNvSpPr>
            <a:spLocks noGrp="1"/>
          </p:cNvSpPr>
          <p:nvPr userDrawn="1">
            <p:ph type="body" sz="quarter" idx="53"/>
          </p:nvPr>
        </p:nvSpPr>
        <p:spPr>
          <a:xfrm>
            <a:off x="8950475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6820393F-A448-2E4C-089D-807F9DC2A07E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8950475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 algn="l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45" name="Footnote">
            <a:extLst>
              <a:ext uri="{FF2B5EF4-FFF2-40B4-BE49-F238E27FC236}">
                <a16:creationId xmlns:a16="http://schemas.microsoft.com/office/drawing/2014/main" id="{EFC765AC-7584-A8D3-1059-43D998733533}"/>
              </a:ext>
            </a:extLst>
          </p:cNvPr>
          <p:cNvSpPr txBox="1">
            <a:spLocks/>
          </p:cNvSpPr>
          <p:nvPr userDrawn="1"/>
        </p:nvSpPr>
        <p:spPr>
          <a:xfrm>
            <a:off x="320040" y="6309360"/>
            <a:ext cx="959741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7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1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or the Microsoft 365 Copilot Chat mobile app and set toggle to “Web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2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the Microsoft 365 Copilot Chat mobile app, or the M365 Copilot Chat app in Teams, and set toggle to “Work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3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I Agents allow Copilot to access your organization-specific apps. In the past this would have required an API call to get data from a system of record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he content in this example scenario is for demonstration purposes only. You should evaluate how Copilot aligns with your organization’s business processes, regulatory requirements, and responsible AI principles.</a:t>
            </a:r>
          </a:p>
        </p:txBody>
      </p:sp>
    </p:spTree>
    <p:extLst>
      <p:ext uri="{BB962C8B-B14F-4D97-AF65-F5344CB8AC3E}">
        <p14:creationId xmlns:p14="http://schemas.microsoft.com/office/powerpoint/2010/main" val="23878347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8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60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4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888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y in the life six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387766"/>
            <a:ext cx="5672544" cy="526298"/>
          </a:xfrm>
        </p:spPr>
        <p:txBody>
          <a:bodyPr tIns="0"/>
          <a:lstStyle>
            <a:lvl1pPr>
              <a:lnSpc>
                <a:spcPct val="95000"/>
              </a:lnSpc>
              <a:defRPr sz="18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; can be up to two lines long; 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75" name="Scenario Level">
            <a:extLst>
              <a:ext uri="{FF2B5EF4-FFF2-40B4-BE49-F238E27FC236}">
                <a16:creationId xmlns:a16="http://schemas.microsoft.com/office/drawing/2014/main" id="{1BB75DAB-4D8A-2933-BB52-0C94AA4816E3}"/>
              </a:ext>
            </a:extLst>
          </p:cNvPr>
          <p:cNvSpPr txBox="1"/>
          <p:nvPr userDrawn="1"/>
        </p:nvSpPr>
        <p:spPr>
          <a:xfrm>
            <a:off x="10955436" y="351933"/>
            <a:ext cx="93176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Scenario level:</a:t>
            </a:r>
          </a:p>
        </p:txBody>
      </p:sp>
      <p:sp>
        <p:nvSpPr>
          <p:cNvPr id="3" name="Level">
            <a:extLst>
              <a:ext uri="{FF2B5EF4-FFF2-40B4-BE49-F238E27FC236}">
                <a16:creationId xmlns:a16="http://schemas.microsoft.com/office/drawing/2014/main" id="{78D71A05-3479-3DEB-1227-2FC98983A80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430234" y="521099"/>
            <a:ext cx="1456966" cy="175614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-20" baseline="0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r>
              <a:rPr lang="en-US"/>
              <a:t>Buy</a:t>
            </a:r>
          </a:p>
        </p:txBody>
      </p:sp>
      <p:sp>
        <p:nvSpPr>
          <p:cNvPr id="84" name="Available With">
            <a:extLst>
              <a:ext uri="{FF2B5EF4-FFF2-40B4-BE49-F238E27FC236}">
                <a16:creationId xmlns:a16="http://schemas.microsoft.com/office/drawing/2014/main" id="{8D8427AA-F015-D373-46E2-2EB1053D80CE}"/>
              </a:ext>
            </a:extLst>
          </p:cNvPr>
          <p:cNvSpPr txBox="1"/>
          <p:nvPr userDrawn="1"/>
        </p:nvSpPr>
        <p:spPr>
          <a:xfrm>
            <a:off x="9187165" y="351933"/>
            <a:ext cx="93176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Available with: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216CED8-8F45-B380-FB1B-B9408979340F}"/>
              </a:ext>
            </a:extLst>
          </p:cNvPr>
          <p:cNvCxnSpPr/>
          <p:nvPr userDrawn="1"/>
        </p:nvCxnSpPr>
        <p:spPr>
          <a:xfrm>
            <a:off x="10357672" y="358721"/>
            <a:ext cx="0" cy="331655"/>
          </a:xfrm>
          <a:prstGeom prst="line">
            <a:avLst/>
          </a:prstGeom>
          <a:ln>
            <a:solidFill>
              <a:srgbClr val="B1B3B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License">
            <a:extLst>
              <a:ext uri="{FF2B5EF4-FFF2-40B4-BE49-F238E27FC236}">
                <a16:creationId xmlns:a16="http://schemas.microsoft.com/office/drawing/2014/main" id="{6B562108-00FE-5F42-7550-13BB7DE58E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19107" y="521099"/>
            <a:ext cx="3599821" cy="169277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-20" baseline="0">
                <a:solidFill>
                  <a:srgbClr val="C03BC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Microsoft 365 Copilot</a:t>
            </a:r>
          </a:p>
        </p:txBody>
      </p:sp>
      <p:sp>
        <p:nvSpPr>
          <p:cNvPr id="119" name="Freeform: Shape 2">
            <a:extLst>
              <a:ext uri="{FF2B5EF4-FFF2-40B4-BE49-F238E27FC236}">
                <a16:creationId xmlns:a16="http://schemas.microsoft.com/office/drawing/2014/main" id="{DFCC0CE5-9BBF-33A2-43D3-99555654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-1" y="1857513"/>
            <a:ext cx="10010265" cy="2453282"/>
          </a:xfrm>
          <a:custGeom>
            <a:avLst/>
            <a:gdLst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  <a:gd name="connsiteX0" fmla="*/ 25400 w 9096375"/>
              <a:gd name="connsiteY0" fmla="*/ 0 h 2491048"/>
              <a:gd name="connsiteX1" fmla="*/ 8875992 w 9096375"/>
              <a:gd name="connsiteY1" fmla="*/ 0 h 2491048"/>
              <a:gd name="connsiteX2" fmla="*/ 9096375 w 9096375"/>
              <a:gd name="connsiteY2" fmla="*/ 220383 h 2491048"/>
              <a:gd name="connsiteX3" fmla="*/ 9096375 w 9096375"/>
              <a:gd name="connsiteY3" fmla="*/ 2270665 h 2491048"/>
              <a:gd name="connsiteX4" fmla="*/ 8875992 w 9096375"/>
              <a:gd name="connsiteY4" fmla="*/ 2491048 h 2491048"/>
              <a:gd name="connsiteX5" fmla="*/ 25400 w 9096375"/>
              <a:gd name="connsiteY5" fmla="*/ 2491048 h 2491048"/>
              <a:gd name="connsiteX6" fmla="*/ 0 w 9096375"/>
              <a:gd name="connsiteY6" fmla="*/ 1182948 h 2491048"/>
              <a:gd name="connsiteX7" fmla="*/ 25400 w 9096375"/>
              <a:gd name="connsiteY7" fmla="*/ 0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7" fmla="*/ 91440 w 9096375"/>
              <a:gd name="connsiteY7" fmla="*/ 1274388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70975" h="2491048">
                <a:moveTo>
                  <a:pt x="0" y="0"/>
                </a:moveTo>
                <a:lnTo>
                  <a:pt x="8850592" y="0"/>
                </a:lnTo>
                <a:cubicBezTo>
                  <a:pt x="8972306" y="0"/>
                  <a:pt x="9070975" y="98669"/>
                  <a:pt x="9070975" y="220383"/>
                </a:cubicBezTo>
                <a:lnTo>
                  <a:pt x="9070975" y="2270665"/>
                </a:lnTo>
                <a:cubicBezTo>
                  <a:pt x="9070975" y="2392379"/>
                  <a:pt x="8972306" y="2491048"/>
                  <a:pt x="8850592" y="2491048"/>
                </a:cubicBezTo>
                <a:lnTo>
                  <a:pt x="0" y="2491048"/>
                </a:lnTo>
              </a:path>
            </a:pathLst>
          </a:custGeom>
          <a:ln w="15875" cap="flat">
            <a:gradFill flip="none" rotWithShape="1">
              <a:gsLst>
                <a:gs pos="0">
                  <a:srgbClr val="0078D4"/>
                </a:gs>
                <a:gs pos="100000">
                  <a:schemeClr val="accent3"/>
                </a:gs>
              </a:gsLst>
              <a:lin ang="0" scaled="1"/>
              <a:tileRect/>
            </a:gradFill>
            <a:headEnd type="none" w="lg" len="med"/>
            <a:tailEnd type="none" w="lg" len="med"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F3E1CBA9-BB11-EF2E-649E-27B49E82FE86}"/>
              </a:ext>
            </a:extLst>
          </p:cNvPr>
          <p:cNvGrpSpPr/>
          <p:nvPr userDrawn="1"/>
        </p:nvGrpSpPr>
        <p:grpSpPr>
          <a:xfrm>
            <a:off x="3476832" y="1793093"/>
            <a:ext cx="166152" cy="166152"/>
            <a:chOff x="5214995" y="-1168400"/>
            <a:chExt cx="431800" cy="431800"/>
          </a:xfrm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54C8AC7-0DF2-A7B4-59BC-354BDE9A823D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9" name="Rectangle 89">
              <a:extLst>
                <a:ext uri="{FF2B5EF4-FFF2-40B4-BE49-F238E27FC236}">
                  <a16:creationId xmlns:a16="http://schemas.microsoft.com/office/drawing/2014/main" id="{F0376496-3125-ED18-7608-C142A0C35F33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3D3E10AB-B82F-F7E8-A33D-8AF61C784420}"/>
              </a:ext>
            </a:extLst>
          </p:cNvPr>
          <p:cNvGrpSpPr/>
          <p:nvPr userDrawn="1"/>
        </p:nvGrpSpPr>
        <p:grpSpPr>
          <a:xfrm>
            <a:off x="6669529" y="1793093"/>
            <a:ext cx="166152" cy="166152"/>
            <a:chOff x="5214995" y="-1168400"/>
            <a:chExt cx="431800" cy="431800"/>
          </a:xfrm>
        </p:grpSpPr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CC526CF7-4F8D-6DB9-E3E9-2381E7AFAF4A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52" name="Rectangle 89">
              <a:extLst>
                <a:ext uri="{FF2B5EF4-FFF2-40B4-BE49-F238E27FC236}">
                  <a16:creationId xmlns:a16="http://schemas.microsoft.com/office/drawing/2014/main" id="{63E3BD4D-8045-49DC-2041-46643AE5ED02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816F1C59-4D7D-3BDD-0560-654E11A9B15E}"/>
              </a:ext>
            </a:extLst>
          </p:cNvPr>
          <p:cNvGrpSpPr/>
          <p:nvPr userDrawn="1"/>
        </p:nvGrpSpPr>
        <p:grpSpPr>
          <a:xfrm flipH="1">
            <a:off x="3476832" y="4248344"/>
            <a:ext cx="166152" cy="166152"/>
            <a:chOff x="5214995" y="-1168400"/>
            <a:chExt cx="431800" cy="431800"/>
          </a:xfrm>
        </p:grpSpPr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A0C410FC-F149-F1FA-B620-BF7F0EDE7D6C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55" name="Rectangle 89">
              <a:extLst>
                <a:ext uri="{FF2B5EF4-FFF2-40B4-BE49-F238E27FC236}">
                  <a16:creationId xmlns:a16="http://schemas.microsoft.com/office/drawing/2014/main" id="{5B5C9B65-59ED-2529-1E53-C9ABE9CB79FD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28DAF83D-E0BD-BE8E-ECEC-5E5EDE3E6C74}"/>
              </a:ext>
            </a:extLst>
          </p:cNvPr>
          <p:cNvGrpSpPr/>
          <p:nvPr userDrawn="1"/>
        </p:nvGrpSpPr>
        <p:grpSpPr>
          <a:xfrm flipH="1">
            <a:off x="6669529" y="4248344"/>
            <a:ext cx="166152" cy="166152"/>
            <a:chOff x="5214995" y="-1168400"/>
            <a:chExt cx="431800" cy="431800"/>
          </a:xfrm>
        </p:grpSpPr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2CC39567-C008-3C38-03DA-28EE0BE74832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58" name="Rectangle 89">
              <a:extLst>
                <a:ext uri="{FF2B5EF4-FFF2-40B4-BE49-F238E27FC236}">
                  <a16:creationId xmlns:a16="http://schemas.microsoft.com/office/drawing/2014/main" id="{99B2574B-7594-72E2-E826-4D4DA471A11A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E60DF7C5-E7F6-A90D-706C-6592ECDDB338}"/>
              </a:ext>
            </a:extLst>
          </p:cNvPr>
          <p:cNvGrpSpPr/>
          <p:nvPr userDrawn="1"/>
        </p:nvGrpSpPr>
        <p:grpSpPr>
          <a:xfrm rot="5400000">
            <a:off x="9928103" y="2233511"/>
            <a:ext cx="166152" cy="166152"/>
            <a:chOff x="5214995" y="-1168400"/>
            <a:chExt cx="431800" cy="431800"/>
          </a:xfrm>
        </p:grpSpPr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11A9EA57-349E-6453-094C-DB252913E583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79" name="Rectangle 89">
              <a:extLst>
                <a:ext uri="{FF2B5EF4-FFF2-40B4-BE49-F238E27FC236}">
                  <a16:creationId xmlns:a16="http://schemas.microsoft.com/office/drawing/2014/main" id="{217C0C60-8F15-8390-C6A7-0DB9E99CA653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3B572509-4831-8A48-B663-AE17D9FD8ED5}"/>
              </a:ext>
            </a:extLst>
          </p:cNvPr>
          <p:cNvGrpSpPr/>
          <p:nvPr userDrawn="1"/>
        </p:nvGrpSpPr>
        <p:grpSpPr>
          <a:xfrm rot="5400000">
            <a:off x="9928103" y="3954518"/>
            <a:ext cx="166152" cy="166152"/>
            <a:chOff x="5214995" y="-1168400"/>
            <a:chExt cx="431800" cy="431800"/>
          </a:xfrm>
        </p:grpSpPr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068A591D-A59C-D3D7-2C67-293B3727D0A2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82" name="Rectangle 89">
              <a:extLst>
                <a:ext uri="{FF2B5EF4-FFF2-40B4-BE49-F238E27FC236}">
                  <a16:creationId xmlns:a16="http://schemas.microsoft.com/office/drawing/2014/main" id="{8B0AF6B1-C3AC-C476-AE16-287C61A1D75A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95" name="Step 1 TItle">
            <a:extLst>
              <a:ext uri="{FF2B5EF4-FFF2-40B4-BE49-F238E27FC236}">
                <a16:creationId xmlns:a16="http://schemas.microsoft.com/office/drawing/2014/main" id="{545F2FD2-44C5-DA9F-8E2B-13D6C03793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169013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06" name="Step 1 Top">
            <a:extLst>
              <a:ext uri="{FF2B5EF4-FFF2-40B4-BE49-F238E27FC236}">
                <a16:creationId xmlns:a16="http://schemas.microsoft.com/office/drawing/2014/main" id="{433B73A7-DB5C-AF5A-B12A-70E655D0C5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4200" y="2128438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9" name="Step 1 Bottom">
            <a:extLst>
              <a:ext uri="{FF2B5EF4-FFF2-40B4-BE49-F238E27FC236}">
                <a16:creationId xmlns:a16="http://schemas.microsoft.com/office/drawing/2014/main" id="{C966B391-3BF4-A5FB-4F8A-8B4B5468966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4199" y="3304510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83" name="Step 2 Title">
            <a:extLst>
              <a:ext uri="{FF2B5EF4-FFF2-40B4-BE49-F238E27FC236}">
                <a16:creationId xmlns:a16="http://schemas.microsoft.com/office/drawing/2014/main" id="{DF1E6E41-3DB3-84EB-984F-CCB9167D56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6898" y="169013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84" name="Step 2 Top">
            <a:extLst>
              <a:ext uri="{FF2B5EF4-FFF2-40B4-BE49-F238E27FC236}">
                <a16:creationId xmlns:a16="http://schemas.microsoft.com/office/drawing/2014/main" id="{6E6ACE10-8248-C360-0E35-7598E8EC828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76898" y="2128438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Step 2 Bottom">
            <a:extLst>
              <a:ext uri="{FF2B5EF4-FFF2-40B4-BE49-F238E27FC236}">
                <a16:creationId xmlns:a16="http://schemas.microsoft.com/office/drawing/2014/main" id="{55D154DF-71A5-D9D3-0756-AA7208899CF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76897" y="3304510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86" name="Step 3 Title">
            <a:extLst>
              <a:ext uri="{FF2B5EF4-FFF2-40B4-BE49-F238E27FC236}">
                <a16:creationId xmlns:a16="http://schemas.microsoft.com/office/drawing/2014/main" id="{3BF3353A-2534-A54C-BD30-4DA6ABBA06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9595" y="169013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87" name="Step 3 Top">
            <a:extLst>
              <a:ext uri="{FF2B5EF4-FFF2-40B4-BE49-F238E27FC236}">
                <a16:creationId xmlns:a16="http://schemas.microsoft.com/office/drawing/2014/main" id="{F8FA69C0-B798-B0EF-B064-997FF774E8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69595" y="2128438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kern="1200" spc="0" baseline="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88" name="Step 3 Bottom">
            <a:extLst>
              <a:ext uri="{FF2B5EF4-FFF2-40B4-BE49-F238E27FC236}">
                <a16:creationId xmlns:a16="http://schemas.microsoft.com/office/drawing/2014/main" id="{FFA3E6BA-ECB6-F78C-CF22-7B05706020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969595" y="3304510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95" name="Step 4 Title">
            <a:extLst>
              <a:ext uri="{FF2B5EF4-FFF2-40B4-BE49-F238E27FC236}">
                <a16:creationId xmlns:a16="http://schemas.microsoft.com/office/drawing/2014/main" id="{4411A19D-5600-3582-7891-BEECA6B3C9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69595" y="415007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96" name="Step 4 Top">
            <a:extLst>
              <a:ext uri="{FF2B5EF4-FFF2-40B4-BE49-F238E27FC236}">
                <a16:creationId xmlns:a16="http://schemas.microsoft.com/office/drawing/2014/main" id="{E6756EC6-5C62-CCBD-6970-540F4E463C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969595" y="4584616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Step 4 Bottom">
            <a:extLst>
              <a:ext uri="{FF2B5EF4-FFF2-40B4-BE49-F238E27FC236}">
                <a16:creationId xmlns:a16="http://schemas.microsoft.com/office/drawing/2014/main" id="{56520A8E-9E5D-0840-1CB1-35762F47BF5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69595" y="5696772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92" name="Step 5 Title">
            <a:extLst>
              <a:ext uri="{FF2B5EF4-FFF2-40B4-BE49-F238E27FC236}">
                <a16:creationId xmlns:a16="http://schemas.microsoft.com/office/drawing/2014/main" id="{D8F51403-DA8F-C60A-932D-8B8817FDA7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76898" y="415007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93" name="Step 5 Top">
            <a:extLst>
              <a:ext uri="{FF2B5EF4-FFF2-40B4-BE49-F238E27FC236}">
                <a16:creationId xmlns:a16="http://schemas.microsoft.com/office/drawing/2014/main" id="{1D287AE8-D07F-849B-E6F1-1AC629E8FB3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76898" y="4584616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4" name="Step 5 Bottom">
            <a:extLst>
              <a:ext uri="{FF2B5EF4-FFF2-40B4-BE49-F238E27FC236}">
                <a16:creationId xmlns:a16="http://schemas.microsoft.com/office/drawing/2014/main" id="{D79AB424-C959-FD9F-0942-4B657234F22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76897" y="5681038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89" name="Step 6 Title">
            <a:extLst>
              <a:ext uri="{FF2B5EF4-FFF2-40B4-BE49-F238E27FC236}">
                <a16:creationId xmlns:a16="http://schemas.microsoft.com/office/drawing/2014/main" id="{E07EBCA7-C1BD-E0AD-6403-14224CB1B5C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4200" y="415007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90" name="Step 6 Top">
            <a:extLst>
              <a:ext uri="{FF2B5EF4-FFF2-40B4-BE49-F238E27FC236}">
                <a16:creationId xmlns:a16="http://schemas.microsoft.com/office/drawing/2014/main" id="{880DDDC9-1973-AB6B-84B0-8402F7E57DD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84200" y="4584616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1" name="Step 6 Bottom">
            <a:extLst>
              <a:ext uri="{FF2B5EF4-FFF2-40B4-BE49-F238E27FC236}">
                <a16:creationId xmlns:a16="http://schemas.microsoft.com/office/drawing/2014/main" id="{779BA1D8-105C-B66F-63AF-84DC7F62245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84200" y="5681038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5" name="Footnote">
            <a:extLst>
              <a:ext uri="{FF2B5EF4-FFF2-40B4-BE49-F238E27FC236}">
                <a16:creationId xmlns:a16="http://schemas.microsoft.com/office/drawing/2014/main" id="{31EB8337-5CD4-C7D9-AFCA-89AFAC81CFF8}"/>
              </a:ext>
            </a:extLst>
          </p:cNvPr>
          <p:cNvSpPr txBox="1">
            <a:spLocks/>
          </p:cNvSpPr>
          <p:nvPr userDrawn="1"/>
        </p:nvSpPr>
        <p:spPr>
          <a:xfrm>
            <a:off x="653131" y="6406129"/>
            <a:ext cx="959741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7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30000" noProof="0"/>
              <a:t>1</a:t>
            </a:r>
            <a:r>
              <a:rPr lang="en-US" noProof="0"/>
              <a:t>Access M365 Copilot Chat at </a:t>
            </a:r>
            <a:r>
              <a:rPr lang="en-US" noProof="0">
                <a:hlinkClick r:id="rId2"/>
              </a:rPr>
              <a:t>m365copilot.com </a:t>
            </a:r>
            <a:r>
              <a:rPr lang="en-US" noProof="0"/>
              <a:t>or the Microsoft 365 Copilot Chat mobile app and set toggle to “Web”.</a:t>
            </a:r>
          </a:p>
          <a:p>
            <a:r>
              <a:rPr lang="en-US" baseline="30000" noProof="0"/>
              <a:t>2</a:t>
            </a:r>
            <a:r>
              <a:rPr lang="en-US" noProof="0"/>
              <a:t>Access M365 Copilot Chat at </a:t>
            </a:r>
            <a:r>
              <a:rPr lang="en-US" noProof="0">
                <a:hlinkClick r:id="rId2"/>
              </a:rPr>
              <a:t>m365copilot.com</a:t>
            </a:r>
            <a:r>
              <a:rPr lang="en-US" noProof="0"/>
              <a:t>, the Microsoft 365 Copilot Chat mobile app, or the M365 Copilot Chat app in Teams, and set toggle to “Work”.</a:t>
            </a:r>
          </a:p>
          <a:p>
            <a:r>
              <a:rPr lang="en-US" baseline="30000" noProof="0"/>
              <a:t>3</a:t>
            </a:r>
            <a:r>
              <a:rPr lang="en-US" noProof="0"/>
              <a:t>AI Agents allow Copilot to access your organization-specific apps. In the past this would have required an API call to get data from a system of record.</a:t>
            </a:r>
          </a:p>
          <a:p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he content in this example scenario is for demonstration purposes only. You should evaluate how Copilot aligns with your organization’s business processes, regulatory requirements, and responsible AI principles.</a:t>
            </a:r>
          </a:p>
        </p:txBody>
      </p:sp>
    </p:spTree>
    <p:extLst>
      <p:ext uri="{BB962C8B-B14F-4D97-AF65-F5344CB8AC3E}">
        <p14:creationId xmlns:p14="http://schemas.microsoft.com/office/powerpoint/2010/main" val="40668552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420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674" r:id="rId2"/>
    <p:sldLayoutId id="2147483907" r:id="rId3"/>
    <p:sldLayoutId id="2147483835" r:id="rId4"/>
    <p:sldLayoutId id="2147483675" r:id="rId5"/>
    <p:sldLayoutId id="2147483676" r:id="rId6"/>
    <p:sldLayoutId id="2147483909" r:id="rId7"/>
    <p:sldLayoutId id="2147483911" r:id="rId8"/>
    <p:sldLayoutId id="2147483816" r:id="rId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8D0E7D-97D6-F8A7-E0A4-F7E5CE87E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CFA0F716-6597-14DC-9F0F-24466F9178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A0F716-6597-14DC-9F0F-24466F9178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Text Placeholder 162">
            <a:extLst>
              <a:ext uri="{FF2B5EF4-FFF2-40B4-BE49-F238E27FC236}">
                <a16:creationId xmlns:a16="http://schemas.microsoft.com/office/drawing/2014/main" id="{06BC3991-CCB4-C86D-378E-3BA8BF127DA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1388" y="1026303"/>
            <a:ext cx="2194560" cy="1131079"/>
          </a:xfrm>
        </p:spPr>
        <p:txBody>
          <a:bodyPr/>
          <a:lstStyle/>
          <a:p>
            <a:r>
              <a:rPr lang="en-US" noProof="0" dirty="0"/>
              <a:t>Seamlessly aggregate trending themes and segment audiences to build predictive models—maximizing monetization of content </a:t>
            </a:r>
            <a:r>
              <a:rPr lang="en-US" dirty="0"/>
              <a:t>gated behind a paywall </a:t>
            </a:r>
            <a:r>
              <a:rPr lang="en-US" noProof="0" dirty="0"/>
              <a:t>through data-driven decisions. </a:t>
            </a:r>
          </a:p>
        </p:txBody>
      </p:sp>
      <p:sp>
        <p:nvSpPr>
          <p:cNvPr id="158" name="Title 157">
            <a:extLst>
              <a:ext uri="{FF2B5EF4-FFF2-40B4-BE49-F238E27FC236}">
                <a16:creationId xmlns:a16="http://schemas.microsoft.com/office/drawing/2014/main" id="{D3664ED5-BB2E-FF1E-5DC2-D6D45751B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1874" y="315696"/>
            <a:ext cx="4316377" cy="530804"/>
          </a:xfrm>
        </p:spPr>
        <p:txBody>
          <a:bodyPr vert="horz">
            <a:noAutofit/>
          </a:bodyPr>
          <a:lstStyle/>
          <a:p>
            <a:r>
              <a:rPr lang="en-US" dirty="0"/>
              <a:t>Predictive analytics for </a:t>
            </a:r>
            <a:br>
              <a:rPr lang="en-US" dirty="0"/>
            </a:br>
            <a:r>
              <a:rPr lang="en-US" dirty="0"/>
              <a:t>content monetization</a:t>
            </a:r>
          </a:p>
        </p:txBody>
      </p:sp>
      <p:sp>
        <p:nvSpPr>
          <p:cNvPr id="162" name="Text Placeholder 161">
            <a:extLst>
              <a:ext uri="{FF2B5EF4-FFF2-40B4-BE49-F238E27FC236}">
                <a16:creationId xmlns:a16="http://schemas.microsoft.com/office/drawing/2014/main" id="{9B5B33AF-A1AD-8A8A-2F6D-795A7856F20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430351" y="521099"/>
            <a:ext cx="1456966" cy="175614"/>
          </a:xfrm>
        </p:spPr>
        <p:txBody>
          <a:bodyPr>
            <a:normAutofit/>
          </a:bodyPr>
          <a:lstStyle/>
          <a:p>
            <a:r>
              <a:rPr lang="en-US" noProof="0"/>
              <a:t>Build</a:t>
            </a:r>
          </a:p>
        </p:txBody>
      </p:sp>
      <p:sp>
        <p:nvSpPr>
          <p:cNvPr id="160" name="Text Placeholder 159">
            <a:extLst>
              <a:ext uri="{FF2B5EF4-FFF2-40B4-BE49-F238E27FC236}">
                <a16:creationId xmlns:a16="http://schemas.microsoft.com/office/drawing/2014/main" id="{21B3ED46-DE25-82B3-E3B6-49F4371A84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49557" y="521100"/>
            <a:ext cx="2969488" cy="169277"/>
          </a:xfrm>
        </p:spPr>
        <p:txBody>
          <a:bodyPr>
            <a:normAutofit/>
          </a:bodyPr>
          <a:lstStyle/>
          <a:p>
            <a:r>
              <a:rPr lang="en-US" dirty="0"/>
              <a:t>Microsoft 365 Copilot and Azure AI Foundry</a:t>
            </a:r>
          </a:p>
        </p:txBody>
      </p:sp>
      <p:sp>
        <p:nvSpPr>
          <p:cNvPr id="164" name="Text Placeholder 163">
            <a:extLst>
              <a:ext uri="{FF2B5EF4-FFF2-40B4-BE49-F238E27FC236}">
                <a16:creationId xmlns:a16="http://schemas.microsoft.com/office/drawing/2014/main" id="{1BCAF080-E151-38CE-0749-11E979CFD75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04797" y="445215"/>
            <a:ext cx="2089153" cy="246221"/>
          </a:xfr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sz="1600"/>
              <a:t>Media &amp; Entertainment</a:t>
            </a:r>
          </a:p>
        </p:txBody>
      </p:sp>
      <p:sp>
        <p:nvSpPr>
          <p:cNvPr id="177" name="Text Placeholder 176">
            <a:extLst>
              <a:ext uri="{FF2B5EF4-FFF2-40B4-BE49-F238E27FC236}">
                <a16:creationId xmlns:a16="http://schemas.microsoft.com/office/drawing/2014/main" id="{4EF5F455-8A5F-0991-FFFA-A6A50E981A23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82890" y="2725494"/>
            <a:ext cx="2572262" cy="712876"/>
          </a:xfrm>
        </p:spPr>
        <p:txBody>
          <a:bodyPr/>
          <a:lstStyle/>
          <a:p>
            <a:r>
              <a:rPr lang="en-US" noProof="0" dirty="0"/>
              <a:t>Sample Prompt: </a:t>
            </a:r>
            <a:r>
              <a:rPr lang="en-US" dirty="0"/>
              <a:t>From the </a:t>
            </a:r>
            <a:r>
              <a:rPr lang="en-US" b="1" dirty="0" err="1"/>
              <a:t>CohortModel</a:t>
            </a:r>
            <a:r>
              <a:rPr lang="en-US" dirty="0"/>
              <a:t> dataset, create a LTV by acquisition month visual and a decomposition tree of top churn drivers. </a:t>
            </a:r>
            <a:endParaRPr lang="en-US" noProof="0" dirty="0"/>
          </a:p>
        </p:txBody>
      </p:sp>
      <p:sp>
        <p:nvSpPr>
          <p:cNvPr id="159" name="Text Placeholder 158">
            <a:extLst>
              <a:ext uri="{FF2B5EF4-FFF2-40B4-BE49-F238E27FC236}">
                <a16:creationId xmlns:a16="http://schemas.microsoft.com/office/drawing/2014/main" id="{D0A82576-1580-B54E-13DA-12B7F03E24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82890" y="1112478"/>
            <a:ext cx="2572262" cy="153888"/>
          </a:xfrm>
        </p:spPr>
        <p:txBody>
          <a:bodyPr/>
          <a:lstStyle/>
          <a:p>
            <a:r>
              <a:rPr lang="en-US" noProof="0" dirty="0"/>
              <a:t>Create visuals</a:t>
            </a:r>
          </a:p>
        </p:txBody>
      </p:sp>
      <p:sp>
        <p:nvSpPr>
          <p:cNvPr id="161" name="Text Placeholder 160">
            <a:extLst>
              <a:ext uri="{FF2B5EF4-FFF2-40B4-BE49-F238E27FC236}">
                <a16:creationId xmlns:a16="http://schemas.microsoft.com/office/drawing/2014/main" id="{71343DAD-AB18-6700-696F-6D977A4E86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82889" y="1438715"/>
            <a:ext cx="2632963" cy="626701"/>
          </a:xfrm>
        </p:spPr>
        <p:txBody>
          <a:bodyPr/>
          <a:lstStyle/>
          <a:p>
            <a:r>
              <a:rPr lang="en-US" noProof="0" dirty="0">
                <a:highlight>
                  <a:srgbClr val="FFFF00"/>
                </a:highlight>
              </a:rPr>
              <a:t>Copilot helps teams create visuals and narratives based on consumer data sets.</a:t>
            </a:r>
          </a:p>
        </p:txBody>
      </p:sp>
      <p:sp>
        <p:nvSpPr>
          <p:cNvPr id="166" name="Text Placeholder 165">
            <a:extLst>
              <a:ext uri="{FF2B5EF4-FFF2-40B4-BE49-F238E27FC236}">
                <a16:creationId xmlns:a16="http://schemas.microsoft.com/office/drawing/2014/main" id="{863C36E2-8931-8E36-5D27-9FE0F2973E0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066682" y="1112478"/>
            <a:ext cx="2572262" cy="153888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Tune models</a:t>
            </a:r>
          </a:p>
        </p:txBody>
      </p:sp>
      <p:sp>
        <p:nvSpPr>
          <p:cNvPr id="167" name="Text Placeholder 166">
            <a:extLst>
              <a:ext uri="{FF2B5EF4-FFF2-40B4-BE49-F238E27FC236}">
                <a16:creationId xmlns:a16="http://schemas.microsoft.com/office/drawing/2014/main" id="{99657762-C571-143B-E786-137519CC7ED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066682" y="1438715"/>
            <a:ext cx="2572262" cy="626701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Use Copilot to rapidly tune predictive models.</a:t>
            </a:r>
            <a:endParaRPr lang="en-US" noProof="0" dirty="0">
              <a:highlight>
                <a:srgbClr val="FFFF00"/>
              </a:highlight>
            </a:endParaRPr>
          </a:p>
        </p:txBody>
      </p:sp>
      <p:sp>
        <p:nvSpPr>
          <p:cNvPr id="171" name="Text Placeholder 170">
            <a:extLst>
              <a:ext uri="{FF2B5EF4-FFF2-40B4-BE49-F238E27FC236}">
                <a16:creationId xmlns:a16="http://schemas.microsoft.com/office/drawing/2014/main" id="{D258E60F-4298-9CA0-5126-3BCE693AB3C7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8950475" y="2725494"/>
            <a:ext cx="2572262" cy="712876"/>
          </a:xfrm>
        </p:spPr>
        <p:txBody>
          <a:bodyPr/>
          <a:lstStyle/>
          <a:p>
            <a:r>
              <a:rPr lang="en-US" dirty="0"/>
              <a:t>Sample Prompt: List user segments with </a:t>
            </a:r>
            <a:r>
              <a:rPr lang="en-US" b="1" dirty="0"/>
              <a:t>&gt;15% uplift in paywall conversion</a:t>
            </a:r>
            <a:r>
              <a:rPr lang="en-US" dirty="0"/>
              <a:t> under Variant B vs control. Summarize risks.</a:t>
            </a:r>
          </a:p>
        </p:txBody>
      </p:sp>
      <p:sp>
        <p:nvSpPr>
          <p:cNvPr id="169" name="Text Placeholder 168">
            <a:extLst>
              <a:ext uri="{FF2B5EF4-FFF2-40B4-BE49-F238E27FC236}">
                <a16:creationId xmlns:a16="http://schemas.microsoft.com/office/drawing/2014/main" id="{F908AED4-AD3A-AEDC-5A6C-6C15DE250B9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950475" y="1112478"/>
            <a:ext cx="2572262" cy="153888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Query datasets</a:t>
            </a:r>
          </a:p>
        </p:txBody>
      </p:sp>
      <p:sp>
        <p:nvSpPr>
          <p:cNvPr id="170" name="Text Placeholder 169">
            <a:extLst>
              <a:ext uri="{FF2B5EF4-FFF2-40B4-BE49-F238E27FC236}">
                <a16:creationId xmlns:a16="http://schemas.microsoft.com/office/drawing/2014/main" id="{61C857F0-AAF9-4970-572B-E393D81B4E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50474" y="1438715"/>
            <a:ext cx="2666215" cy="626701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Use your machine learning model to create an agent that can answer questions about your customer base.</a:t>
            </a:r>
          </a:p>
        </p:txBody>
      </p:sp>
      <p:sp>
        <p:nvSpPr>
          <p:cNvPr id="180" name="Text Placeholder 179">
            <a:extLst>
              <a:ext uri="{FF2B5EF4-FFF2-40B4-BE49-F238E27FC236}">
                <a16:creationId xmlns:a16="http://schemas.microsoft.com/office/drawing/2014/main" id="{4A053656-AC8A-EC74-F585-A6C77F1CD074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66682" y="2725494"/>
            <a:ext cx="2572262" cy="712876"/>
          </a:xfrm>
        </p:spPr>
        <p:txBody>
          <a:bodyPr/>
          <a:lstStyle/>
          <a:p>
            <a:r>
              <a:rPr lang="en-US" noProof="0" dirty="0"/>
              <a:t>Sample Prompt: </a:t>
            </a:r>
            <a:r>
              <a:rPr lang="en-US" dirty="0"/>
              <a:t>Using columns: </a:t>
            </a:r>
            <a:r>
              <a:rPr lang="en-US" dirty="0" err="1"/>
              <a:t>avg_session_time</a:t>
            </a:r>
            <a:r>
              <a:rPr lang="en-US" dirty="0"/>
              <a:t>, </a:t>
            </a:r>
            <a:r>
              <a:rPr lang="en-US" dirty="0" err="1"/>
              <a:t>num_paywall_views</a:t>
            </a:r>
            <a:r>
              <a:rPr lang="en-US" dirty="0"/>
              <a:t>, </a:t>
            </a:r>
            <a:r>
              <a:rPr lang="en-US" dirty="0" err="1"/>
              <a:t>price_exposures</a:t>
            </a:r>
            <a:r>
              <a:rPr lang="en-US" dirty="0"/>
              <a:t>, </a:t>
            </a:r>
            <a:r>
              <a:rPr lang="en-US" dirty="0" err="1"/>
              <a:t>category_affinity</a:t>
            </a:r>
            <a:r>
              <a:rPr lang="en-US" dirty="0"/>
              <a:t>, and </a:t>
            </a:r>
            <a:r>
              <a:rPr lang="en-US" dirty="0" err="1"/>
              <a:t>tenure_days</a:t>
            </a:r>
            <a:r>
              <a:rPr lang="en-US" dirty="0"/>
              <a:t>, fit a gradient‑boosted model to predict 30-day conversion. Simulate the impact of raising the monthly price by 5% on predicted conversions.</a:t>
            </a:r>
            <a:endParaRPr lang="en-US" noProof="0" dirty="0"/>
          </a:p>
        </p:txBody>
      </p:sp>
      <p:sp>
        <p:nvSpPr>
          <p:cNvPr id="172" name="Text Placeholder 171">
            <a:extLst>
              <a:ext uri="{FF2B5EF4-FFF2-40B4-BE49-F238E27FC236}">
                <a16:creationId xmlns:a16="http://schemas.microsoft.com/office/drawing/2014/main" id="{E5B9F662-287F-3C69-E836-97E1605365C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182890" y="5334522"/>
            <a:ext cx="2572262" cy="712876"/>
          </a:xfrm>
        </p:spPr>
        <p:txBody>
          <a:bodyPr/>
          <a:lstStyle/>
          <a:p>
            <a:r>
              <a:rPr lang="en-US" noProof="0" dirty="0"/>
              <a:t>Sample Prompt: </a:t>
            </a:r>
            <a:r>
              <a:rPr lang="en-US" altLang="en-US" dirty="0"/>
              <a:t>Write a 200‑word CEO update titled “Q2 Subscription Monetization Outlook.” Include: trend in net adds, ARPU, LTV vs. plan; top churn drivers; risks and mitigations. </a:t>
            </a:r>
          </a:p>
          <a:p>
            <a:endParaRPr lang="en-US" noProof="0" dirty="0"/>
          </a:p>
        </p:txBody>
      </p:sp>
      <p:sp>
        <p:nvSpPr>
          <p:cNvPr id="173" name="Text Placeholder 172">
            <a:extLst>
              <a:ext uri="{FF2B5EF4-FFF2-40B4-BE49-F238E27FC236}">
                <a16:creationId xmlns:a16="http://schemas.microsoft.com/office/drawing/2014/main" id="{7AE61EC9-CD99-DAD8-1B93-7EEA0185FE3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182890" y="3725103"/>
            <a:ext cx="2572262" cy="153888"/>
          </a:xfrm>
        </p:spPr>
        <p:txBody>
          <a:bodyPr/>
          <a:lstStyle/>
          <a:p>
            <a:r>
              <a:rPr lang="en-US" dirty="0"/>
              <a:t>Create exec summaries</a:t>
            </a:r>
          </a:p>
        </p:txBody>
      </p:sp>
      <p:sp>
        <p:nvSpPr>
          <p:cNvPr id="174" name="Text Placeholder 173">
            <a:extLst>
              <a:ext uri="{FF2B5EF4-FFF2-40B4-BE49-F238E27FC236}">
                <a16:creationId xmlns:a16="http://schemas.microsoft.com/office/drawing/2014/main" id="{CBA99E88-C598-914D-3D9B-67D1EC0DB06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82890" y="4050957"/>
            <a:ext cx="2572262" cy="626701"/>
          </a:xfrm>
        </p:spPr>
        <p:txBody>
          <a:bodyPr/>
          <a:lstStyle/>
          <a:p>
            <a:r>
              <a:rPr lang="en-US" noProof="0" dirty="0"/>
              <a:t>Generate comprehensive summaries of monetization plans with detailed metrics for executive review.</a:t>
            </a:r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29837F1A-E55F-4B43-CE7E-7FCDFC84097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066682" y="3725103"/>
            <a:ext cx="2572262" cy="153888"/>
          </a:xfrm>
        </p:spPr>
        <p:txBody>
          <a:bodyPr/>
          <a:lstStyle/>
          <a:p>
            <a:r>
              <a:rPr lang="en-US" dirty="0"/>
              <a:t>Optimize campaigns</a:t>
            </a:r>
          </a:p>
        </p:txBody>
      </p:sp>
      <p:sp>
        <p:nvSpPr>
          <p:cNvPr id="176" name="Text Placeholder 175">
            <a:extLst>
              <a:ext uri="{FF2B5EF4-FFF2-40B4-BE49-F238E27FC236}">
                <a16:creationId xmlns:a16="http://schemas.microsoft.com/office/drawing/2014/main" id="{07D4912A-2FFD-DF97-F322-30870A06DD2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066682" y="4050957"/>
            <a:ext cx="2572262" cy="626701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Understand your data to better design offers that will attain specific financial goals.</a:t>
            </a:r>
          </a:p>
        </p:txBody>
      </p:sp>
      <p:sp>
        <p:nvSpPr>
          <p:cNvPr id="165" name="Text Placeholder 164">
            <a:extLst>
              <a:ext uri="{FF2B5EF4-FFF2-40B4-BE49-F238E27FC236}">
                <a16:creationId xmlns:a16="http://schemas.microsoft.com/office/drawing/2014/main" id="{352F6F82-8771-25E3-DDB3-397E2640F6C9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950475" y="5334522"/>
            <a:ext cx="2572262" cy="712876"/>
          </a:xfrm>
        </p:spPr>
        <p:txBody>
          <a:bodyPr/>
          <a:lstStyle/>
          <a:p>
            <a:r>
              <a:rPr lang="en-US" dirty="0"/>
              <a:t>Sample Prompt: Design soft vs. hard paywall geo‑split with sample size and guardrails.</a:t>
            </a:r>
          </a:p>
        </p:txBody>
      </p:sp>
      <p:sp>
        <p:nvSpPr>
          <p:cNvPr id="178" name="Text Placeholder 177">
            <a:extLst>
              <a:ext uri="{FF2B5EF4-FFF2-40B4-BE49-F238E27FC236}">
                <a16:creationId xmlns:a16="http://schemas.microsoft.com/office/drawing/2014/main" id="{4DD0568E-1170-549D-4082-C53684C834FA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950475" y="3725103"/>
            <a:ext cx="2572262" cy="153888"/>
          </a:xfrm>
        </p:spPr>
        <p:txBody>
          <a:bodyPr/>
          <a:lstStyle/>
          <a:p>
            <a:r>
              <a:rPr lang="en-US" dirty="0"/>
              <a:t>Create monetization test plans</a:t>
            </a:r>
          </a:p>
        </p:txBody>
      </p:sp>
      <p:sp>
        <p:nvSpPr>
          <p:cNvPr id="179" name="Text Placeholder 178">
            <a:extLst>
              <a:ext uri="{FF2B5EF4-FFF2-40B4-BE49-F238E27FC236}">
                <a16:creationId xmlns:a16="http://schemas.microsoft.com/office/drawing/2014/main" id="{756B5336-CDDB-9F08-420A-DAB6D5DD07D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950475" y="4050957"/>
            <a:ext cx="2572262" cy="626701"/>
          </a:xfrm>
        </p:spPr>
        <p:txBody>
          <a:bodyPr/>
          <a:lstStyle/>
          <a:p>
            <a:r>
              <a:rPr lang="en-US" dirty="0"/>
              <a:t>To support decision making, Copilot helps design test plans to improve monetization options.</a:t>
            </a:r>
          </a:p>
        </p:txBody>
      </p:sp>
      <p:sp>
        <p:nvSpPr>
          <p:cNvPr id="168" name="Text Placeholder 167">
            <a:extLst>
              <a:ext uri="{FF2B5EF4-FFF2-40B4-BE49-F238E27FC236}">
                <a16:creationId xmlns:a16="http://schemas.microsoft.com/office/drawing/2014/main" id="{06FD1571-E843-B0F4-A90A-C9048986F1DE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066682" y="5334522"/>
            <a:ext cx="2572262" cy="712876"/>
          </a:xfrm>
        </p:spPr>
        <p:txBody>
          <a:bodyPr/>
          <a:lstStyle/>
          <a:p>
            <a:r>
              <a:rPr lang="en-US" dirty="0"/>
              <a:t>Sample Prompt: Show churn drivers by plan, device, referrer; propose save‑offers and expected MRR saved.</a:t>
            </a:r>
          </a:p>
        </p:txBody>
      </p:sp>
      <p:sp>
        <p:nvSpPr>
          <p:cNvPr id="181" name="Text Placeholder 180">
            <a:extLst>
              <a:ext uri="{FF2B5EF4-FFF2-40B4-BE49-F238E27FC236}">
                <a16:creationId xmlns:a16="http://schemas.microsoft.com/office/drawing/2014/main" id="{585C5AA6-A1BA-7EBC-41D4-347ADC1C2B9B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20721" y="4709762"/>
            <a:ext cx="1131651" cy="219456"/>
          </a:xfrm>
        </p:spPr>
        <p:txBody>
          <a:bodyPr/>
          <a:lstStyle/>
          <a:p>
            <a:r>
              <a:rPr lang="en-US" noProof="0"/>
              <a:t>Value benefit</a:t>
            </a:r>
          </a:p>
        </p:txBody>
      </p:sp>
      <p:sp>
        <p:nvSpPr>
          <p:cNvPr id="182" name="Text Placeholder 181">
            <a:extLst>
              <a:ext uri="{FF2B5EF4-FFF2-40B4-BE49-F238E27FC236}">
                <a16:creationId xmlns:a16="http://schemas.microsoft.com/office/drawing/2014/main" id="{304F8DD1-4717-62B2-30C8-FA878FCE790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0721" y="3467940"/>
            <a:ext cx="1131650" cy="219456"/>
          </a:xfrm>
        </p:spPr>
        <p:txBody>
          <a:bodyPr/>
          <a:lstStyle/>
          <a:p>
            <a:r>
              <a:rPr lang="en-US" noProof="0"/>
              <a:t>KPIs impacted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4A5C8E18-82A7-7050-E25E-C8D629EC2668}"/>
              </a:ext>
            </a:extLst>
          </p:cNvPr>
          <p:cNvGrpSpPr/>
          <p:nvPr/>
        </p:nvGrpSpPr>
        <p:grpSpPr>
          <a:xfrm>
            <a:off x="320719" y="3778836"/>
            <a:ext cx="1771607" cy="504622"/>
            <a:chOff x="320719" y="4228589"/>
            <a:chExt cx="1771607" cy="504622"/>
          </a:xfrm>
        </p:grpSpPr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F75E6E81-B10D-BF28-8585-9E0EA0DA0E35}"/>
                </a:ext>
              </a:extLst>
            </p:cNvPr>
            <p:cNvGrpSpPr/>
            <p:nvPr/>
          </p:nvGrpSpPr>
          <p:grpSpPr>
            <a:xfrm>
              <a:off x="320719" y="4228589"/>
              <a:ext cx="1771605" cy="216000"/>
              <a:chOff x="320719" y="4224848"/>
              <a:chExt cx="1771605" cy="219456"/>
            </a:xfrm>
          </p:grpSpPr>
          <p:sp>
            <p:nvSpPr>
              <p:cNvPr id="191" name="Rectangle: Rounded Corners 6">
                <a:extLst>
                  <a:ext uri="{FF2B5EF4-FFF2-40B4-BE49-F238E27FC236}">
                    <a16:creationId xmlns:a16="http://schemas.microsoft.com/office/drawing/2014/main" id="{BD0763BF-3C36-65A7-A1D4-AAEB90A63D1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320719" y="4224848"/>
                <a:ext cx="1771605" cy="21945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12700">
                <a:solidFill>
                  <a:srgbClr val="0078D4"/>
                </a:solidFill>
                <a:headEnd type="none" w="med" len="med"/>
                <a:tailEnd type="none" w="med" len="med"/>
              </a:ln>
              <a:effectLst>
                <a:outerShdw blurRad="63500" dist="63500" dir="2700000" rotWithShape="0">
                  <a:srgbClr val="454142">
                    <a:alpha val="20000"/>
                  </a:srgb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7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bold"/>
                  </a:rPr>
                  <a:t>Boost productivity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92" name="Graphic 191">
                <a:extLst>
                  <a:ext uri="{FF2B5EF4-FFF2-40B4-BE49-F238E27FC236}">
                    <a16:creationId xmlns:a16="http://schemas.microsoft.com/office/drawing/2014/main" id="{4DDD2655-B7E4-ACF3-EE1D-4E417481DE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7506" y="4260849"/>
                <a:ext cx="144000" cy="144000"/>
              </a:xfrm>
              <a:prstGeom prst="rect">
                <a:avLst/>
              </a:prstGeom>
            </p:spPr>
          </p:pic>
        </p:grp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47047E67-EB53-E80D-0E9C-AFB0AF5D2847}"/>
                </a:ext>
              </a:extLst>
            </p:cNvPr>
            <p:cNvGrpSpPr/>
            <p:nvPr/>
          </p:nvGrpSpPr>
          <p:grpSpPr>
            <a:xfrm>
              <a:off x="320721" y="4517211"/>
              <a:ext cx="1771605" cy="216000"/>
              <a:chOff x="320721" y="4517211"/>
              <a:chExt cx="1771605" cy="216000"/>
            </a:xfrm>
          </p:grpSpPr>
          <p:sp>
            <p:nvSpPr>
              <p:cNvPr id="189" name="Rectangle: Rounded Corners 6">
                <a:extLst>
                  <a:ext uri="{FF2B5EF4-FFF2-40B4-BE49-F238E27FC236}">
                    <a16:creationId xmlns:a16="http://schemas.microsoft.com/office/drawing/2014/main" id="{4450E561-5467-26C5-2FDB-87BC84B6EC4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721" y="4517211"/>
                <a:ext cx="1771605" cy="216000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12700">
                <a:solidFill>
                  <a:srgbClr val="0078D4"/>
                </a:solidFill>
                <a:headEnd type="none" w="med" len="med"/>
                <a:tailEnd type="none" w="med" len="med"/>
              </a:ln>
              <a:effectLst>
                <a:outerShdw blurRad="63500" dist="63500" dir="2700000" rotWithShape="0">
                  <a:srgbClr val="454142">
                    <a:alpha val="20000"/>
                  </a:srgb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7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bold"/>
                  </a:rPr>
                  <a:t>Marketing ROI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90" name="Graphic 189">
                <a:extLst>
                  <a:ext uri="{FF2B5EF4-FFF2-40B4-BE49-F238E27FC236}">
                    <a16:creationId xmlns:a16="http://schemas.microsoft.com/office/drawing/2014/main" id="{9D4D909C-43D0-4D9B-2564-AF1F852EDD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7507" y="4552645"/>
                <a:ext cx="144000" cy="141732"/>
              </a:xfrm>
              <a:prstGeom prst="rect">
                <a:avLst/>
              </a:prstGeom>
            </p:spPr>
          </p:pic>
        </p:grp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76225B2E-A82D-2648-6D41-328AD268314E}"/>
              </a:ext>
            </a:extLst>
          </p:cNvPr>
          <p:cNvGrpSpPr/>
          <p:nvPr/>
        </p:nvGrpSpPr>
        <p:grpSpPr>
          <a:xfrm>
            <a:off x="320719" y="5020658"/>
            <a:ext cx="1771605" cy="216000"/>
            <a:chOff x="320719" y="5270676"/>
            <a:chExt cx="1771605" cy="216000"/>
          </a:xfrm>
        </p:grpSpPr>
        <p:sp>
          <p:nvSpPr>
            <p:cNvPr id="198" name="Rectangle: Rounded Corners 6">
              <a:extLst>
                <a:ext uri="{FF2B5EF4-FFF2-40B4-BE49-F238E27FC236}">
                  <a16:creationId xmlns:a16="http://schemas.microsoft.com/office/drawing/2014/main" id="{FE8ACE84-B9B5-09B1-DEDA-C980AC9C37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320719" y="5270676"/>
              <a:ext cx="1771605" cy="2160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12700">
              <a:solidFill>
                <a:srgbClr val="C03BC4"/>
              </a:solidFill>
              <a:headEnd type="none" w="med" len="med"/>
              <a:tailEnd type="none" w="med" len="med"/>
            </a:ln>
            <a:effectLst>
              <a:outerShdw blurRad="63500" dist="63500" dir="2700000" rotWithShape="0">
                <a:srgbClr val="454142">
                  <a:alpha val="20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C03BC4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Cost savings</a:t>
              </a:r>
            </a:p>
          </p:txBody>
        </p:sp>
        <p:pic>
          <p:nvPicPr>
            <p:cNvPr id="199" name="Graphic 198">
              <a:extLst>
                <a:ext uri="{FF2B5EF4-FFF2-40B4-BE49-F238E27FC236}">
                  <a16:creationId xmlns:a16="http://schemas.microsoft.com/office/drawing/2014/main" id="{FA65BAE3-DE16-87A0-956D-10BC7EDD942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7505" y="5306676"/>
              <a:ext cx="144000" cy="144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0FDF389-33C9-B05A-80E0-5D0B0A2396CD}"/>
              </a:ext>
            </a:extLst>
          </p:cNvPr>
          <p:cNvGrpSpPr/>
          <p:nvPr/>
        </p:nvGrpSpPr>
        <p:grpSpPr>
          <a:xfrm>
            <a:off x="3192075" y="2184886"/>
            <a:ext cx="2354945" cy="360000"/>
            <a:chOff x="584200" y="5266713"/>
            <a:chExt cx="2354945" cy="3600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5B9127C-18E2-0A69-CC32-C3219FB69D1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4200" y="5266713"/>
              <a:ext cx="360000" cy="3600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82EE993-9CF5-660C-FE9B-39F2FA1B7965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 txBox="1"/>
            <p:nvPr/>
          </p:nvSpPr>
          <p:spPr>
            <a:xfrm>
              <a:off x="1046961" y="5369769"/>
              <a:ext cx="1892184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Copilot in Power BI</a:t>
              </a:r>
              <a:endPara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pic>
        <p:nvPicPr>
          <p:cNvPr id="15" name="Picture 2" descr="Retail and E-Commerce - Foresight Edge">
            <a:extLst>
              <a:ext uri="{FF2B5EF4-FFF2-40B4-BE49-F238E27FC236}">
                <a16:creationId xmlns:a16="http://schemas.microsoft.com/office/drawing/2014/main" id="{6D85913A-FD8B-7114-76FE-7B67305DF581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99" t="2540" r="28691" b="2222"/>
          <a:stretch/>
        </p:blipFill>
        <p:spPr bwMode="auto">
          <a:xfrm>
            <a:off x="3201003" y="2228075"/>
            <a:ext cx="210994" cy="27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1">
            <a:extLst>
              <a:ext uri="{FF2B5EF4-FFF2-40B4-BE49-F238E27FC236}">
                <a16:creationId xmlns:a16="http://schemas.microsoft.com/office/drawing/2014/main" id="{CA098104-4FDE-FA2C-1946-6D2E000D6D2F}"/>
              </a:ext>
            </a:extLst>
          </p:cNvPr>
          <p:cNvSpPr/>
          <p:nvPr/>
        </p:nvSpPr>
        <p:spPr bwMode="auto">
          <a:xfrm rot="20888769">
            <a:off x="-64817" y="53746"/>
            <a:ext cx="2350874" cy="282342"/>
          </a:xfrm>
          <a:custGeom>
            <a:avLst/>
            <a:gdLst>
              <a:gd name="connsiteX0" fmla="*/ 0 w 6121537"/>
              <a:gd name="connsiteY0" fmla="*/ 0 h 407061"/>
              <a:gd name="connsiteX1" fmla="*/ 6121537 w 6121537"/>
              <a:gd name="connsiteY1" fmla="*/ 0 h 407061"/>
              <a:gd name="connsiteX2" fmla="*/ 6121537 w 6121537"/>
              <a:gd name="connsiteY2" fmla="*/ 407061 h 407061"/>
              <a:gd name="connsiteX3" fmla="*/ 0 w 6121537"/>
              <a:gd name="connsiteY3" fmla="*/ 407061 h 407061"/>
              <a:gd name="connsiteX4" fmla="*/ 0 w 6121537"/>
              <a:gd name="connsiteY4" fmla="*/ 0 h 407061"/>
              <a:gd name="connsiteX0" fmla="*/ 0 w 6121537"/>
              <a:gd name="connsiteY0" fmla="*/ 1677 h 408738"/>
              <a:gd name="connsiteX1" fmla="*/ 4253239 w 6121537"/>
              <a:gd name="connsiteY1" fmla="*/ 0 h 408738"/>
              <a:gd name="connsiteX2" fmla="*/ 6121537 w 6121537"/>
              <a:gd name="connsiteY2" fmla="*/ 408738 h 408738"/>
              <a:gd name="connsiteX3" fmla="*/ 0 w 6121537"/>
              <a:gd name="connsiteY3" fmla="*/ 408738 h 408738"/>
              <a:gd name="connsiteX4" fmla="*/ 0 w 6121537"/>
              <a:gd name="connsiteY4" fmla="*/ 1677 h 408738"/>
              <a:gd name="connsiteX0" fmla="*/ 0 w 6144375"/>
              <a:gd name="connsiteY0" fmla="*/ 1677 h 408738"/>
              <a:gd name="connsiteX1" fmla="*/ 4253239 w 6144375"/>
              <a:gd name="connsiteY1" fmla="*/ 0 h 408738"/>
              <a:gd name="connsiteX2" fmla="*/ 6144375 w 6144375"/>
              <a:gd name="connsiteY2" fmla="*/ 399586 h 408738"/>
              <a:gd name="connsiteX3" fmla="*/ 0 w 6144375"/>
              <a:gd name="connsiteY3" fmla="*/ 408738 h 408738"/>
              <a:gd name="connsiteX4" fmla="*/ 0 w 6144375"/>
              <a:gd name="connsiteY4" fmla="*/ 1677 h 408738"/>
              <a:gd name="connsiteX0" fmla="*/ 80470 w 6144375"/>
              <a:gd name="connsiteY0" fmla="*/ 0 h 425035"/>
              <a:gd name="connsiteX1" fmla="*/ 4253239 w 6144375"/>
              <a:gd name="connsiteY1" fmla="*/ 16297 h 425035"/>
              <a:gd name="connsiteX2" fmla="*/ 6144375 w 6144375"/>
              <a:gd name="connsiteY2" fmla="*/ 415883 h 425035"/>
              <a:gd name="connsiteX3" fmla="*/ 0 w 6144375"/>
              <a:gd name="connsiteY3" fmla="*/ 425035 h 425035"/>
              <a:gd name="connsiteX4" fmla="*/ 80470 w 6144375"/>
              <a:gd name="connsiteY4" fmla="*/ 0 h 425035"/>
              <a:gd name="connsiteX0" fmla="*/ 80470 w 6445295"/>
              <a:gd name="connsiteY0" fmla="*/ 0 h 425035"/>
              <a:gd name="connsiteX1" fmla="*/ 4253239 w 6445295"/>
              <a:gd name="connsiteY1" fmla="*/ 16297 h 425035"/>
              <a:gd name="connsiteX2" fmla="*/ 6445296 w 6445295"/>
              <a:gd name="connsiteY2" fmla="*/ 283878 h 425035"/>
              <a:gd name="connsiteX3" fmla="*/ 0 w 6445295"/>
              <a:gd name="connsiteY3" fmla="*/ 425035 h 425035"/>
              <a:gd name="connsiteX4" fmla="*/ 80470 w 6445295"/>
              <a:gd name="connsiteY4" fmla="*/ 0 h 425035"/>
              <a:gd name="connsiteX0" fmla="*/ 177681 w 6445295"/>
              <a:gd name="connsiteY0" fmla="*/ 0 h 436254"/>
              <a:gd name="connsiteX1" fmla="*/ 4253239 w 6445295"/>
              <a:gd name="connsiteY1" fmla="*/ 27516 h 436254"/>
              <a:gd name="connsiteX2" fmla="*/ 6445296 w 6445295"/>
              <a:gd name="connsiteY2" fmla="*/ 295097 h 436254"/>
              <a:gd name="connsiteX3" fmla="*/ 0 w 6445295"/>
              <a:gd name="connsiteY3" fmla="*/ 436254 h 436254"/>
              <a:gd name="connsiteX4" fmla="*/ 177681 w 6445295"/>
              <a:gd name="connsiteY4" fmla="*/ 0 h 436254"/>
              <a:gd name="connsiteX0" fmla="*/ 113979 w 6381593"/>
              <a:gd name="connsiteY0" fmla="*/ 0 h 443944"/>
              <a:gd name="connsiteX1" fmla="*/ 4189537 w 6381593"/>
              <a:gd name="connsiteY1" fmla="*/ 27516 h 443944"/>
              <a:gd name="connsiteX2" fmla="*/ 6381594 w 6381593"/>
              <a:gd name="connsiteY2" fmla="*/ 295097 h 443944"/>
              <a:gd name="connsiteX3" fmla="*/ 1 w 6381593"/>
              <a:gd name="connsiteY3" fmla="*/ 443945 h 443944"/>
              <a:gd name="connsiteX4" fmla="*/ 113979 w 6381593"/>
              <a:gd name="connsiteY4" fmla="*/ 0 h 443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1593" h="443944">
                <a:moveTo>
                  <a:pt x="113979" y="0"/>
                </a:moveTo>
                <a:lnTo>
                  <a:pt x="4189537" y="27516"/>
                </a:lnTo>
                <a:lnTo>
                  <a:pt x="6381594" y="295097"/>
                </a:lnTo>
                <a:lnTo>
                  <a:pt x="1" y="443945"/>
                </a:lnTo>
                <a:lnTo>
                  <a:pt x="113979" y="0"/>
                </a:lnTo>
                <a:close/>
              </a:path>
            </a:pathLst>
          </a:cu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i="1">
                <a:solidFill>
                  <a:srgbClr val="07641D"/>
                </a:solidFill>
                <a:ea typeface="Segoe UI" pitchFamily="34" charset="0"/>
                <a:cs typeface="Segoe UI" pitchFamily="34" charset="0"/>
              </a:rPr>
              <a:t>NEW </a:t>
            </a:r>
            <a:r>
              <a:rPr lang="en-US" sz="1000" i="1">
                <a:solidFill>
                  <a:srgbClr val="07641D"/>
                </a:solidFill>
                <a:ea typeface="Segoe UI" pitchFamily="34" charset="0"/>
                <a:cs typeface="Segoe UI" pitchFamily="34" charset="0"/>
              </a:rPr>
              <a:t>READY FOR REVIE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71FDA3-E440-FAB9-A434-448B11CAC37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9333900" y="2255949"/>
            <a:ext cx="1804173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</a:rPr>
              <a:t>AI Agent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</a:rPr>
              <a:t>3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</a:endParaRPr>
          </a:p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</a:rPr>
              <a:t>+ Connection to </a:t>
            </a:r>
            <a:r>
              <a:rPr lang="en-US" sz="800" dirty="0">
                <a:solidFill>
                  <a:srgbClr val="0078D4"/>
                </a:solidFill>
                <a:latin typeface="Segoe UI Semibold"/>
              </a:rPr>
              <a:t>Microsoft Fabric</a:t>
            </a:r>
          </a:p>
        </p:txBody>
      </p:sp>
      <p:pic>
        <p:nvPicPr>
          <p:cNvPr id="6" name="Graphic 60">
            <a:extLst>
              <a:ext uri="{FF2B5EF4-FFF2-40B4-BE49-F238E27FC236}">
                <a16:creationId xmlns:a16="http://schemas.microsoft.com/office/drawing/2014/main" id="{D86CFDE5-D9B7-DA63-89B6-EB767E704EA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0475" y="2276616"/>
            <a:ext cx="265126" cy="23566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07F071A-33E4-8ED3-1BD8-9F2D8B83866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6499998" y="2304896"/>
            <a:ext cx="1490793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in Excel</a:t>
            </a:r>
          </a:p>
        </p:txBody>
      </p:sp>
      <p:pic>
        <p:nvPicPr>
          <p:cNvPr id="9" name="Picture 8" descr="Excel logo">
            <a:extLst>
              <a:ext uri="{FF2B5EF4-FFF2-40B4-BE49-F238E27FC236}">
                <a16:creationId xmlns:a16="http://schemas.microsoft.com/office/drawing/2014/main" id="{619F8B10-42A0-10E8-B14A-681BFBE8FBF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96000" y="2249252"/>
            <a:ext cx="265176" cy="26517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D738F9D-3E11-55CD-FDB5-AE2D03A72D6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9374423" y="4819102"/>
            <a:ext cx="1804173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</a:rPr>
              <a:t>AI Agent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</a:rPr>
              <a:t>3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</a:endParaRPr>
          </a:p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</a:rPr>
              <a:t>+ Connection to </a:t>
            </a:r>
            <a:r>
              <a:rPr lang="en-US" sz="800" dirty="0">
                <a:solidFill>
                  <a:srgbClr val="0078D4"/>
                </a:solidFill>
                <a:latin typeface="Segoe UI Semibold"/>
              </a:rPr>
              <a:t>Microsoft Fabric</a:t>
            </a:r>
          </a:p>
        </p:txBody>
      </p:sp>
      <p:pic>
        <p:nvPicPr>
          <p:cNvPr id="18" name="Graphic 60">
            <a:extLst>
              <a:ext uri="{FF2B5EF4-FFF2-40B4-BE49-F238E27FC236}">
                <a16:creationId xmlns:a16="http://schemas.microsoft.com/office/drawing/2014/main" id="{B783F6C4-39DC-F343-9166-50FC7DE64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90998" y="4839769"/>
            <a:ext cx="265126" cy="235667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850FA443-0586-F5FC-1380-598C5A600310}"/>
              </a:ext>
            </a:extLst>
          </p:cNvPr>
          <p:cNvGrpSpPr/>
          <p:nvPr/>
        </p:nvGrpSpPr>
        <p:grpSpPr>
          <a:xfrm>
            <a:off x="6096000" y="4819102"/>
            <a:ext cx="2354945" cy="360000"/>
            <a:chOff x="584200" y="5266713"/>
            <a:chExt cx="2354945" cy="36000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7B674B7-7713-3DEA-613D-C8D6175D8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4200" y="5266713"/>
              <a:ext cx="360000" cy="3600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624C312-28E7-1516-8C9E-32E77BE68C58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 txBox="1"/>
            <p:nvPr/>
          </p:nvSpPr>
          <p:spPr>
            <a:xfrm>
              <a:off x="1046961" y="5369769"/>
              <a:ext cx="1892184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Copilot in Power BI</a:t>
              </a:r>
              <a:endPara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pic>
        <p:nvPicPr>
          <p:cNvPr id="31" name="Picture 2" descr="Retail and E-Commerce - Foresight Edge">
            <a:extLst>
              <a:ext uri="{FF2B5EF4-FFF2-40B4-BE49-F238E27FC236}">
                <a16:creationId xmlns:a16="http://schemas.microsoft.com/office/drawing/2014/main" id="{FD235A9F-EC76-5CE3-49AB-80340EC54197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99" t="2540" r="28691" b="2222"/>
          <a:stretch/>
        </p:blipFill>
        <p:spPr bwMode="auto">
          <a:xfrm>
            <a:off x="6104928" y="4862291"/>
            <a:ext cx="210994" cy="27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F9AABA21-F10F-56BB-F4A0-9B9975FFD8DA}"/>
              </a:ext>
            </a:extLst>
          </p:cNvPr>
          <p:cNvGrpSpPr/>
          <p:nvPr/>
        </p:nvGrpSpPr>
        <p:grpSpPr>
          <a:xfrm>
            <a:off x="3201002" y="4866966"/>
            <a:ext cx="2354945" cy="360000"/>
            <a:chOff x="584200" y="5266713"/>
            <a:chExt cx="2354945" cy="360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8CD4C9B-CAE6-D2F7-127E-4B41AD7F71F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4200" y="5266713"/>
              <a:ext cx="360000" cy="3600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86F097C-75AF-A5BB-1330-CF2B147CC9C9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 txBox="1"/>
            <p:nvPr/>
          </p:nvSpPr>
          <p:spPr>
            <a:xfrm>
              <a:off x="1046961" y="5369769"/>
              <a:ext cx="1892184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Copilot in Power BI</a:t>
              </a:r>
              <a:endPara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pic>
        <p:nvPicPr>
          <p:cNvPr id="35" name="Picture 2" descr="Retail and E-Commerce - Foresight Edge">
            <a:extLst>
              <a:ext uri="{FF2B5EF4-FFF2-40B4-BE49-F238E27FC236}">
                <a16:creationId xmlns:a16="http://schemas.microsoft.com/office/drawing/2014/main" id="{25C2E875-B6DF-BFB1-500C-EDD76EB5D910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99" t="2540" r="28691" b="2222"/>
          <a:stretch/>
        </p:blipFill>
        <p:spPr bwMode="auto">
          <a:xfrm>
            <a:off x="3209930" y="4910155"/>
            <a:ext cx="210994" cy="27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331233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16x9">
  <a:themeElements>
    <a:clrScheme name="Custom 7">
      <a:dk1>
        <a:srgbClr val="000000"/>
      </a:dk1>
      <a:lt1>
        <a:srgbClr val="FFFFFF"/>
      </a:lt1>
      <a:dk2>
        <a:srgbClr val="463668"/>
      </a:dk2>
      <a:lt2>
        <a:srgbClr val="E8E6DF"/>
      </a:lt2>
      <a:accent1>
        <a:srgbClr val="463668"/>
      </a:accent1>
      <a:accent2>
        <a:srgbClr val="C5B4E3"/>
      </a:accent2>
      <a:accent3>
        <a:srgbClr val="C03BC4"/>
      </a:accent3>
      <a:accent4>
        <a:srgbClr val="8C8279"/>
      </a:accent4>
      <a:accent5>
        <a:srgbClr val="D59ED7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brand template starter - 16x9 v04.potx" id="{4908BB59-E0F9-4262-9337-B2D75939F852}" vid="{C1F6406B-B671-42E9-A581-A06DD50715F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c12c9beb-9115-4dd4-b4b0-98592a7680e2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6" ma:contentTypeDescription="Create a new document." ma:contentTypeScope="" ma:versionID="ba0c03e64be8ee40ecdff530c39fb4b4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e40f2d4fd7089cf71002697928c39dfe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  <xsd:element ref="ns2:lcf76f155ced4ddcb4097134ff3c332f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49B3AD-9962-4CE5-8E0A-2C8D95E7DE3D}">
  <ds:schemaRefs>
    <ds:schemaRef ds:uri="c12c9beb-9115-4dd4-b4b0-98592a7680e2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terms/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9b9b331a-5640-4f50-a010-6cc4266aa39c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852CF4-760D-4C86-B3E5-0A4850814475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4</Words>
  <Application>Microsoft Office PowerPoint</Application>
  <PresentationFormat>Widescreen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Predictive analytics for  content monetiz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ylan Bode (FREEMIND SEATTLE LLC)</cp:lastModifiedBy>
  <cp:revision>15</cp:revision>
  <dcterms:created xsi:type="dcterms:W3CDTF">2024-09-25T15:39:48Z</dcterms:created>
  <dcterms:modified xsi:type="dcterms:W3CDTF">2026-02-06T17:5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  <property fmtid="{D5CDD505-2E9C-101B-9397-08002B2CF9AE}" pid="3" name="MediaServiceImageTags">
    <vt:lpwstr/>
  </property>
</Properties>
</file>